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90.xml" ContentType="application/vnd.openxmlformats-officedocument.presentationml.slideLayout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6.xml" ContentType="application/vnd.openxmlformats-officedocument.theme+xml"/>
  <Override PartName="/ppt/tags/tag8.xml" ContentType="application/vnd.openxmlformats-officedocument.presentationml.tags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theme/theme7.xml" ContentType="application/vnd.openxmlformats-officedocument.theme+xml"/>
  <Override PartName="/ppt/tags/tag9.xml" ContentType="application/vnd.openxmlformats-officedocument.presentationml.tags+xml"/>
  <Override PartName="/ppt/theme/theme8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9" r:id="rId4"/>
    <p:sldMasterId id="2147483925" r:id="rId5"/>
    <p:sldMasterId id="2147483946" r:id="rId6"/>
    <p:sldMasterId id="2147484045" r:id="rId7"/>
    <p:sldMasterId id="2147484043" r:id="rId8"/>
    <p:sldMasterId id="2147484022" r:id="rId9"/>
    <p:sldMasterId id="2147483984" r:id="rId10"/>
  </p:sldMasterIdLst>
  <p:notesMasterIdLst>
    <p:notesMasterId r:id="rId18"/>
  </p:notesMasterIdLst>
  <p:sldIdLst>
    <p:sldId id="402" r:id="rId11"/>
    <p:sldId id="4135" r:id="rId12"/>
    <p:sldId id="392" r:id="rId13"/>
    <p:sldId id="4080" r:id="rId14"/>
    <p:sldId id="413" r:id="rId15"/>
    <p:sldId id="467" r:id="rId16"/>
    <p:sldId id="4108" r:id="rId17"/>
  </p:sldIdLst>
  <p:sldSz cx="12192000" cy="6858000"/>
  <p:notesSz cx="6858000" cy="91440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3A1D3DA-DB7D-4E7B-9BB8-15ACB53C1045}" vWet="2" dt="2023-02-16T08:15:29.201"/>
    <p1510:client id="{EF837A00-B045-DFF6-1D06-E4B2170D9934}" v="11" dt="2023-02-16T08:16:42.05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3" d="100"/>
          <a:sy n="83" d="100"/>
        </p:scale>
        <p:origin x="658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microsoft.com/office/2016/11/relationships/changesInfo" Target="changesInfos/changesInfo1.xml"/><Relationship Id="rId10" Type="http://schemas.openxmlformats.org/officeDocument/2006/relationships/slideMaster" Target="slideMasters/slideMaster7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elleseth, Øystein" userId="S::oyshel@ihelse.net::32c7a9a9-73db-4c5c-9f97-c9c5b67d2708" providerId="AD" clId="Web-{EF837A00-B045-DFF6-1D06-E4B2170D9934}"/>
    <pc:docChg chg="modSld">
      <pc:chgData name="Helleseth, Øystein" userId="S::oyshel@ihelse.net::32c7a9a9-73db-4c5c-9f97-c9c5b67d2708" providerId="AD" clId="Web-{EF837A00-B045-DFF6-1D06-E4B2170D9934}" dt="2023-02-16T08:16:38.426" v="5" actId="20577"/>
      <pc:docMkLst>
        <pc:docMk/>
      </pc:docMkLst>
      <pc:sldChg chg="modSp">
        <pc:chgData name="Helleseth, Øystein" userId="S::oyshel@ihelse.net::32c7a9a9-73db-4c5c-9f97-c9c5b67d2708" providerId="AD" clId="Web-{EF837A00-B045-DFF6-1D06-E4B2170D9934}" dt="2023-02-16T08:16:38.426" v="5" actId="20577"/>
        <pc:sldMkLst>
          <pc:docMk/>
          <pc:sldMk cId="903469634" sldId="4080"/>
        </pc:sldMkLst>
        <pc:spChg chg="mod">
          <ac:chgData name="Helleseth, Øystein" userId="S::oyshel@ihelse.net::32c7a9a9-73db-4c5c-9f97-c9c5b67d2708" providerId="AD" clId="Web-{EF837A00-B045-DFF6-1D06-E4B2170D9934}" dt="2023-02-16T08:16:38.426" v="5" actId="20577"/>
          <ac:spMkLst>
            <pc:docMk/>
            <pc:sldMk cId="903469634" sldId="4080"/>
            <ac:spMk id="6" creationId="{FF6DD9D5-1013-4B81-9953-90C308851C80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n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7EFEC5-927E-480E-B3BF-71DB969708DB}" type="datetimeFigureOut">
              <a:rPr lang="nn-NO" smtClean="0"/>
              <a:t>08.03.2023</a:t>
            </a:fld>
            <a:endParaRPr lang="nn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n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n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n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3E2E04-A413-478F-A14B-FD6081EBC465}" type="slidenum">
              <a:rPr lang="nn-NO" smtClean="0"/>
              <a:t>‹#›</a:t>
            </a:fld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41122565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1.svg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1.svg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1.svg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1.svg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00076" y="900113"/>
            <a:ext cx="10966371" cy="5400675"/>
          </a:xfrm>
          <a:solidFill>
            <a:schemeClr val="accent1"/>
          </a:solidFill>
        </p:spPr>
        <p:txBody>
          <a:bodyPr lIns="540000" tIns="540000" rIns="5040000" bIns="2448000" anchor="t"/>
          <a:lstStyle>
            <a:lvl1pPr algn="l">
              <a:lnSpc>
                <a:spcPct val="9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080136" y="5550694"/>
            <a:ext cx="840105" cy="270033"/>
          </a:xfrm>
        </p:spPr>
        <p:txBody>
          <a:bodyPr/>
          <a:lstStyle>
            <a:lvl1pPr algn="l">
              <a:defRPr sz="1333" b="0">
                <a:solidFill>
                  <a:schemeClr val="bg1"/>
                </a:solidFill>
              </a:defRPr>
            </a:lvl1pPr>
          </a:lstStyle>
          <a:p>
            <a:fld id="{983651F3-9B16-40C6-B209-3688FC9C95F6}" type="datetimeFigureOut">
              <a:rPr lang="nb-NO" smtClean="0"/>
              <a:pPr/>
              <a:t>08.03.2023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2100263" y="5550694"/>
            <a:ext cx="4200525" cy="270033"/>
          </a:xfrm>
        </p:spPr>
        <p:txBody>
          <a:bodyPr>
            <a:noAutofit/>
          </a:bodyPr>
          <a:lstStyle>
            <a:lvl1pPr algn="l">
              <a:defRPr sz="1333" b="0">
                <a:solidFill>
                  <a:schemeClr val="bg1"/>
                </a:solidFill>
              </a:defRPr>
            </a:lvl1pPr>
          </a:lstStyle>
          <a:p>
            <a:r>
              <a:rPr lang="nb-NO"/>
              <a:t>Navn </a:t>
            </a:r>
            <a:r>
              <a:rPr lang="nb-NO" err="1"/>
              <a:t>Navnesen</a:t>
            </a:r>
            <a:r>
              <a:rPr lang="nb-NO"/>
              <a:t> og sted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8363" y="379632"/>
            <a:ext cx="1595120" cy="325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41686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x bilder /m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/>
          <p:cNvSpPr>
            <a:spLocks noGrp="1"/>
          </p:cNvSpPr>
          <p:nvPr>
            <p:ph type="pic" sz="quarter" idx="10"/>
          </p:nvPr>
        </p:nvSpPr>
        <p:spPr>
          <a:xfrm>
            <a:off x="600075" y="900113"/>
            <a:ext cx="3600450" cy="1800225"/>
          </a:xfrm>
          <a:prstGeom prst="rect">
            <a:avLst/>
          </a:prstGeom>
          <a:solidFill>
            <a:schemeClr val="lt2"/>
          </a:solidFill>
        </p:spPr>
        <p:txBody>
          <a:bodyPr lIns="0" tIns="360000" rIns="0" bIns="0" anchor="t" anchorCtr="1"/>
          <a:lstStyle>
            <a:lvl1pPr marL="0" indent="0">
              <a:buNone/>
              <a:defRPr sz="1500"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9" name="Plassholder for bilde 6"/>
          <p:cNvSpPr>
            <a:spLocks noGrp="1"/>
          </p:cNvSpPr>
          <p:nvPr>
            <p:ph type="pic" sz="quarter" idx="11"/>
          </p:nvPr>
        </p:nvSpPr>
        <p:spPr>
          <a:xfrm>
            <a:off x="4365548" y="900114"/>
            <a:ext cx="3450431" cy="2700338"/>
          </a:xfrm>
          <a:prstGeom prst="rect">
            <a:avLst/>
          </a:prstGeom>
          <a:solidFill>
            <a:schemeClr val="lt2"/>
          </a:solidFill>
        </p:spPr>
        <p:txBody>
          <a:bodyPr lIns="0" tIns="360000" rIns="0" bIns="0" anchor="t" anchorCtr="1"/>
          <a:lstStyle>
            <a:lvl1pPr marL="0" indent="0">
              <a:buNone/>
              <a:defRPr sz="1500"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10" name="Plassholder for bilde 6"/>
          <p:cNvSpPr>
            <a:spLocks noGrp="1"/>
          </p:cNvSpPr>
          <p:nvPr>
            <p:ph type="pic" sz="quarter" idx="12"/>
          </p:nvPr>
        </p:nvSpPr>
        <p:spPr>
          <a:xfrm>
            <a:off x="4365548" y="3750471"/>
            <a:ext cx="3450431" cy="2550319"/>
          </a:xfrm>
          <a:prstGeom prst="rect">
            <a:avLst/>
          </a:prstGeom>
          <a:solidFill>
            <a:schemeClr val="lt2"/>
          </a:solidFill>
        </p:spPr>
        <p:txBody>
          <a:bodyPr lIns="0" tIns="360000" rIns="0" bIns="0" anchor="t" anchorCtr="1"/>
          <a:lstStyle>
            <a:lvl1pPr marL="0" indent="0">
              <a:buNone/>
              <a:defRPr sz="1500"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13" name="Plassholder for innhold 12"/>
          <p:cNvSpPr>
            <a:spLocks noGrp="1"/>
          </p:cNvSpPr>
          <p:nvPr>
            <p:ph sz="quarter" idx="15"/>
          </p:nvPr>
        </p:nvSpPr>
        <p:spPr>
          <a:xfrm>
            <a:off x="600075" y="2850358"/>
            <a:ext cx="3600450" cy="345043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lIns="360000" tIns="360000" rIns="360000" bIns="360000">
            <a:normAutofit/>
          </a:bodyPr>
          <a:lstStyle>
            <a:lvl1pPr marL="0" indent="0">
              <a:lnSpc>
                <a:spcPts val="3000"/>
              </a:lnSpc>
              <a:spcBef>
                <a:spcPts val="0"/>
              </a:spcBef>
              <a:buNone/>
              <a:defRPr sz="2500" b="1">
                <a:solidFill>
                  <a:schemeClr val="lt1"/>
                </a:solidFill>
                <a:latin typeface="Cambria" panose="02040503050406030204" pitchFamily="18" charset="0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2" name="Plassholder for bilde 6"/>
          <p:cNvSpPr>
            <a:spLocks noGrp="1"/>
          </p:cNvSpPr>
          <p:nvPr>
            <p:ph type="pic" sz="quarter" idx="16"/>
          </p:nvPr>
        </p:nvSpPr>
        <p:spPr>
          <a:xfrm>
            <a:off x="7965996" y="900114"/>
            <a:ext cx="3600450" cy="5400674"/>
          </a:xfrm>
          <a:prstGeom prst="rect">
            <a:avLst/>
          </a:prstGeom>
          <a:solidFill>
            <a:schemeClr val="lt2"/>
          </a:solidFill>
        </p:spPr>
        <p:txBody>
          <a:bodyPr lIns="0" tIns="360000" rIns="0" bIns="0" anchor="t" anchorCtr="1"/>
          <a:lstStyle>
            <a:lvl1pPr marL="0" indent="0">
              <a:buNone/>
              <a:defRPr sz="1500"/>
            </a:lvl1pPr>
          </a:lstStyle>
          <a:p>
            <a:r>
              <a:rPr lang="nb-NO"/>
              <a:t>Klikk ikonet for å legge til et bilde</a:t>
            </a:r>
          </a:p>
        </p:txBody>
      </p:sp>
      <p:pic>
        <p:nvPicPr>
          <p:cNvPr id="8" name="Bild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8363" y="379632"/>
            <a:ext cx="1595120" cy="325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51991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015AA92-CFF3-4A68-B2C4-B3E6548DB7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96925" y="2387600"/>
            <a:ext cx="5097462" cy="73866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8910D29F-BF1C-499C-865B-AE569007ACDD}" type="datetime1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767CD8C-E6E1-47F7-A9B5-467CDD16F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864037"/>
            <a:ext cx="5097462" cy="1169551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1" name="Plassholder for innhold 2">
            <a:extLst>
              <a:ext uri="{FF2B5EF4-FFF2-40B4-BE49-F238E27FC236}">
                <a16:creationId xmlns:a16="http://schemas.microsoft.com/office/drawing/2014/main" id="{D1A5C7BA-CCD2-40AB-95E9-773DE7FB605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96925" y="3327400"/>
            <a:ext cx="5097462" cy="2735264"/>
          </a:xfr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3" name="Plassholder for bilde 3">
            <a:extLst>
              <a:ext uri="{FF2B5EF4-FFF2-40B4-BE49-F238E27FC236}">
                <a16:creationId xmlns:a16="http://schemas.microsoft.com/office/drawing/2014/main" id="{B5A1E56D-AE99-4789-B24D-61210A3F24F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97614" y="976312"/>
            <a:ext cx="5894385" cy="5086351"/>
          </a:xfrm>
          <a:prstGeom prst="rect">
            <a:avLst/>
          </a:prstGeom>
          <a:solidFill>
            <a:schemeClr val="lt2"/>
          </a:solidFill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2" name="Plassholder for tekst 2">
            <a:extLst>
              <a:ext uri="{FF2B5EF4-FFF2-40B4-BE49-F238E27FC236}">
                <a16:creationId xmlns:a16="http://schemas.microsoft.com/office/drawing/2014/main" id="{FF8DB92C-8780-4508-8B81-50F70170913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24843" y="1412460"/>
            <a:ext cx="107722" cy="4543926"/>
          </a:xfrm>
        </p:spPr>
        <p:txBody>
          <a:bodyPr vert="vert">
            <a:spAutoFit/>
          </a:bodyPr>
          <a:lstStyle>
            <a:lvl1pPr marL="0" indent="0" algn="r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</p:spTree>
    <p:extLst>
      <p:ext uri="{BB962C8B-B14F-4D97-AF65-F5344CB8AC3E}">
        <p14:creationId xmlns:p14="http://schemas.microsoft.com/office/powerpoint/2010/main" val="239640685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E0B51F30-4B04-4CED-95D8-06D381065EE3}" type="datetime1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767CD8C-E6E1-47F7-A9B5-467CDD16F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864037"/>
            <a:ext cx="8763000" cy="584775"/>
          </a:xfrm>
        </p:spPr>
        <p:txBody>
          <a:bodyPr lIns="0" tIns="0" rIns="0" bIns="0" anchor="t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4" name="Plassholder for bilde 3">
            <a:extLst>
              <a:ext uri="{FF2B5EF4-FFF2-40B4-BE49-F238E27FC236}">
                <a16:creationId xmlns:a16="http://schemas.microsoft.com/office/drawing/2014/main" id="{13A60648-8934-4097-B0A8-3EAAC644EE1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96925" y="1931822"/>
            <a:ext cx="10594975" cy="4130842"/>
          </a:xfrm>
          <a:prstGeom prst="rect">
            <a:avLst/>
          </a:prstGeom>
          <a:solidFill>
            <a:schemeClr val="lt2"/>
          </a:solidFill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D1728619-46BA-4E25-9B80-6EE5C107EB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56129" y="1931821"/>
            <a:ext cx="107722" cy="4130842"/>
          </a:xfrm>
        </p:spPr>
        <p:txBody>
          <a:bodyPr vert="vert">
            <a:spAutoFit/>
          </a:bodyPr>
          <a:lstStyle>
            <a:lvl1pPr marL="0" indent="0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</p:spTree>
    <p:extLst>
      <p:ext uri="{BB962C8B-B14F-4D97-AF65-F5344CB8AC3E}">
        <p14:creationId xmlns:p14="http://schemas.microsoft.com/office/powerpoint/2010/main" val="230039699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side med kun titte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2EA38832-0BFF-B141-8DEA-3ABA4C0DEF7B}"/>
              </a:ext>
            </a:extLst>
          </p:cNvPr>
          <p:cNvSpPr/>
          <p:nvPr userDrawn="1"/>
        </p:nvSpPr>
        <p:spPr>
          <a:xfrm>
            <a:off x="7734928" y="-11723"/>
            <a:ext cx="4467600" cy="6876000"/>
          </a:xfrm>
          <a:prstGeom prst="rect">
            <a:avLst/>
          </a:prstGeom>
          <a:solidFill>
            <a:schemeClr val="lt1"/>
          </a:solidFill>
          <a:ln w="12700" cap="flat" cmpd="sng" algn="ctr">
            <a:solidFill>
              <a:schemeClr val="accent1">
                <a:lumMod val="100000"/>
                <a:shade val="50000"/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6B81A321-9273-48AB-9354-A60166B59A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6925" y="2222499"/>
            <a:ext cx="5099050" cy="3840163"/>
          </a:xfrm>
        </p:spPr>
        <p:txBody>
          <a:bodyPr wrap="square" lIns="0" tIns="0" rIns="0" bIns="0" anchor="t">
            <a:noAutofit/>
          </a:bodyPr>
          <a:lstStyle>
            <a:lvl1pPr algn="l">
              <a:defRPr sz="380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7B98F3BF-61B5-204E-A801-FADFF39059DD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181592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side med dekor blå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711D1A4-C7C4-41B6-A20A-E04C3D11A5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09AD0F42-88F7-4426-8B24-A2C24B047AD9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55B6032-7D05-4D83-8FF2-DBCDFB87B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49314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81243BF-36D7-45B2-9C81-EB43C04D2E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49314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6B81A321-9273-48AB-9354-A60166B59A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23238" y="2222499"/>
            <a:ext cx="3265488" cy="3840163"/>
          </a:xfrm>
        </p:spPr>
        <p:txBody>
          <a:bodyPr wrap="square" lIns="0" tIns="0" rIns="0" bIns="0" anchor="t">
            <a:noAutofit/>
          </a:bodyPr>
          <a:lstStyle>
            <a:lvl1pPr algn="l">
              <a:defRPr sz="3800">
                <a:solidFill>
                  <a:schemeClr val="dk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8" descr="Et bilde som inneholder tekst&#10;&#10;Automatisk generert beskrivelse">
            <a:extLst>
              <a:ext uri="{FF2B5EF4-FFF2-40B4-BE49-F238E27FC236}">
                <a16:creationId xmlns:a16="http://schemas.microsoft.com/office/drawing/2014/main" id="{1CF77BC4-34AA-4675-BE55-234304E21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732776" cy="6858000"/>
          </a:xfrm>
          <a:prstGeom prst="rect">
            <a:avLst/>
          </a:prstGeom>
        </p:spPr>
      </p:pic>
      <p:pic>
        <p:nvPicPr>
          <p:cNvPr id="10" name="Grafikk 9">
            <a:extLst>
              <a:ext uri="{FF2B5EF4-FFF2-40B4-BE49-F238E27FC236}">
                <a16:creationId xmlns:a16="http://schemas.microsoft.com/office/drawing/2014/main" id="{83688B5B-08F8-FA49-95AB-92CF82DF886B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306283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bilde 12">
            <a:extLst>
              <a:ext uri="{FF2B5EF4-FFF2-40B4-BE49-F238E27FC236}">
                <a16:creationId xmlns:a16="http://schemas.microsoft.com/office/drawing/2014/main" id="{9E8A3748-D9BC-4588-9124-CBF265D47AB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400" y="976313"/>
            <a:ext cx="3671290" cy="2485175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0C150E18-AA93-43E3-AC46-77D640A04D5A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5" name="Plassholder for bilde 9">
            <a:extLst>
              <a:ext uri="{FF2B5EF4-FFF2-40B4-BE49-F238E27FC236}">
                <a16:creationId xmlns:a16="http://schemas.microsoft.com/office/drawing/2014/main" id="{B6AF3DD8-E45D-4380-89B6-AF13DBE2E7A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06400" y="3606933"/>
            <a:ext cx="3671290" cy="2869415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1" name="Plassholder for bilde 9">
            <a:extLst>
              <a:ext uri="{FF2B5EF4-FFF2-40B4-BE49-F238E27FC236}">
                <a16:creationId xmlns:a16="http://schemas.microsoft.com/office/drawing/2014/main" id="{15DF30A0-9F84-452A-A444-45F063653C3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46587" y="976313"/>
            <a:ext cx="3701262" cy="5500035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2" name="Plassholder for bilde 10">
            <a:extLst>
              <a:ext uri="{FF2B5EF4-FFF2-40B4-BE49-F238E27FC236}">
                <a16:creationId xmlns:a16="http://schemas.microsoft.com/office/drawing/2014/main" id="{526789EA-E13E-48A6-BBE3-130F44F5D27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15091" y="976313"/>
            <a:ext cx="3670509" cy="3056119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8" name="Plassholder for bilde 13">
            <a:extLst>
              <a:ext uri="{FF2B5EF4-FFF2-40B4-BE49-F238E27FC236}">
                <a16:creationId xmlns:a16="http://schemas.microsoft.com/office/drawing/2014/main" id="{D541F21A-E060-4545-9758-1ADA5E8A9E3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091" y="4215085"/>
            <a:ext cx="3665747" cy="2261263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4" name="Plassholder for tekst 2">
            <a:extLst>
              <a:ext uri="{FF2B5EF4-FFF2-40B4-BE49-F238E27FC236}">
                <a16:creationId xmlns:a16="http://schemas.microsoft.com/office/drawing/2014/main" id="{EDAC5FE1-F477-4417-B183-216CDB7FFF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57468" y="976312"/>
            <a:ext cx="107722" cy="5500035"/>
          </a:xfrm>
        </p:spPr>
        <p:txBody>
          <a:bodyPr vert="vert" wrap="square">
            <a:spAutoFit/>
          </a:bodyPr>
          <a:lstStyle>
            <a:lvl1pPr marL="0" indent="0" algn="l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  <p:pic>
        <p:nvPicPr>
          <p:cNvPr id="16" name="Grafikk 15">
            <a:extLst>
              <a:ext uri="{FF2B5EF4-FFF2-40B4-BE49-F238E27FC236}">
                <a16:creationId xmlns:a16="http://schemas.microsoft.com/office/drawing/2014/main" id="{E8FAE8B1-32ED-5C4A-AA20-DC08D54EF6BE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489835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FD02CBD6-E0D6-437A-B3ED-7511445B7987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5" name="Plassholder for bilde 9">
            <a:extLst>
              <a:ext uri="{FF2B5EF4-FFF2-40B4-BE49-F238E27FC236}">
                <a16:creationId xmlns:a16="http://schemas.microsoft.com/office/drawing/2014/main" id="{B6AF3DD8-E45D-4380-89B6-AF13DBE2E7A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250727" y="976313"/>
            <a:ext cx="7530112" cy="2664965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6" name="Plassholder for bilde 9">
            <a:extLst>
              <a:ext uri="{FF2B5EF4-FFF2-40B4-BE49-F238E27FC236}">
                <a16:creationId xmlns:a16="http://schemas.microsoft.com/office/drawing/2014/main" id="{60C59660-6576-47AC-AB0D-A04DB9B8FAB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250726" y="3828466"/>
            <a:ext cx="3697374" cy="2647879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1" name="Plassholder for bilde 9">
            <a:extLst>
              <a:ext uri="{FF2B5EF4-FFF2-40B4-BE49-F238E27FC236}">
                <a16:creationId xmlns:a16="http://schemas.microsoft.com/office/drawing/2014/main" id="{8A8E1D40-0565-408A-B029-F0A20B771F3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113229" y="3828465"/>
            <a:ext cx="3667609" cy="2647879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20" name="Plassholder for bilde 12">
            <a:extLst>
              <a:ext uri="{FF2B5EF4-FFF2-40B4-BE49-F238E27FC236}">
                <a16:creationId xmlns:a16="http://schemas.microsoft.com/office/drawing/2014/main" id="{BD103718-D9CD-43DD-812C-E66A6998356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400" y="976313"/>
            <a:ext cx="3671290" cy="5500034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0" name="Plassholder for tekst 2">
            <a:extLst>
              <a:ext uri="{FF2B5EF4-FFF2-40B4-BE49-F238E27FC236}">
                <a16:creationId xmlns:a16="http://schemas.microsoft.com/office/drawing/2014/main" id="{9D18FA0C-C228-4F44-82C8-F0AEBBED9B6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57468" y="976312"/>
            <a:ext cx="107722" cy="5500035"/>
          </a:xfrm>
        </p:spPr>
        <p:txBody>
          <a:bodyPr vert="vert" wrap="square">
            <a:spAutoFit/>
          </a:bodyPr>
          <a:lstStyle>
            <a:lvl1pPr marL="0" indent="0" algn="l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  <p:pic>
        <p:nvPicPr>
          <p:cNvPr id="13" name="Grafikk 12">
            <a:extLst>
              <a:ext uri="{FF2B5EF4-FFF2-40B4-BE49-F238E27FC236}">
                <a16:creationId xmlns:a16="http://schemas.microsoft.com/office/drawing/2014/main" id="{9B145B0F-189F-DA43-B9D2-107B5875D370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659376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352F1F83-84DB-401C-8D12-940686D604DF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Plassholder for bilde 12">
            <a:extLst>
              <a:ext uri="{FF2B5EF4-FFF2-40B4-BE49-F238E27FC236}">
                <a16:creationId xmlns:a16="http://schemas.microsoft.com/office/drawing/2014/main" id="{EE68CC7D-AA5C-4399-BA6B-E5EBFF4DB48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400" y="976313"/>
            <a:ext cx="5603340" cy="5500034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2" name="Plassholder for bilde 12">
            <a:extLst>
              <a:ext uri="{FF2B5EF4-FFF2-40B4-BE49-F238E27FC236}">
                <a16:creationId xmlns:a16="http://schemas.microsoft.com/office/drawing/2014/main" id="{38118730-7423-4715-8302-6A6FCBEE598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82262" y="976313"/>
            <a:ext cx="5603340" cy="5500034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9" name="Plassholder for tekst 2">
            <a:extLst>
              <a:ext uri="{FF2B5EF4-FFF2-40B4-BE49-F238E27FC236}">
                <a16:creationId xmlns:a16="http://schemas.microsoft.com/office/drawing/2014/main" id="{43924911-BEA6-4E57-BF82-1AF6C36DBB2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57468" y="976312"/>
            <a:ext cx="107722" cy="5500035"/>
          </a:xfrm>
        </p:spPr>
        <p:txBody>
          <a:bodyPr vert="vert" wrap="square">
            <a:spAutoFit/>
          </a:bodyPr>
          <a:lstStyle>
            <a:lvl1pPr marL="0" indent="0" algn="l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86ECAC1C-5713-E146-A144-378A1359694C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021707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t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1A638D09-8691-4371-A556-A09705D5D536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Plassholder for bilde 12">
            <a:extLst>
              <a:ext uri="{FF2B5EF4-FFF2-40B4-BE49-F238E27FC236}">
                <a16:creationId xmlns:a16="http://schemas.microsoft.com/office/drawing/2014/main" id="{0D544DBE-4338-44E3-A81D-6B4E650A7A6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400" y="976313"/>
            <a:ext cx="11374438" cy="5500034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C81084AF-41EE-488F-A708-C8CAD2EA5E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57468" y="976312"/>
            <a:ext cx="107722" cy="5500035"/>
          </a:xfrm>
        </p:spPr>
        <p:txBody>
          <a:bodyPr vert="vert" wrap="square">
            <a:spAutoFit/>
          </a:bodyPr>
          <a:lstStyle>
            <a:lvl1pPr marL="0" indent="0" algn="l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0AAED46D-CB9C-AF40-AD84-A77B11F753B8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197288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jul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015AA92-CFF3-4A68-B2C4-B3E6548DB70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96926" y="1884680"/>
            <a:ext cx="2688585" cy="307777"/>
          </a:xfr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Mellomtittel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B5E21243-0A53-4B5E-8D26-9A5A7EC3969A}" type="datetime1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767CD8C-E6E1-47F7-A9B5-467CDD16F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864037"/>
            <a:ext cx="8763000" cy="584775"/>
          </a:xfrm>
        </p:spPr>
        <p:txBody>
          <a:bodyPr lIns="0" tIns="0" rIns="0" bIns="0" anchor="t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1" name="Plassholder for innhold 2">
            <a:extLst>
              <a:ext uri="{FF2B5EF4-FFF2-40B4-BE49-F238E27FC236}">
                <a16:creationId xmlns:a16="http://schemas.microsoft.com/office/drawing/2014/main" id="{D1A5C7BA-CCD2-40AB-95E9-773DE7FB605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96926" y="2202180"/>
            <a:ext cx="2688585" cy="1484034"/>
          </a:xfr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tekst 2">
            <a:extLst>
              <a:ext uri="{FF2B5EF4-FFF2-40B4-BE49-F238E27FC236}">
                <a16:creationId xmlns:a16="http://schemas.microsoft.com/office/drawing/2014/main" id="{A9A60586-33CD-4C12-BD20-BB7CB6F21AC8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796926" y="4265890"/>
            <a:ext cx="2688585" cy="307777"/>
          </a:xfr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Mellomtittel</a:t>
            </a:r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2C109AC8-F42F-45B9-9DF9-AE98BCB84EED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796926" y="4583390"/>
            <a:ext cx="2688585" cy="1484034"/>
          </a:xfr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8" name="Plassholder for tekst 2">
            <a:extLst>
              <a:ext uri="{FF2B5EF4-FFF2-40B4-BE49-F238E27FC236}">
                <a16:creationId xmlns:a16="http://schemas.microsoft.com/office/drawing/2014/main" id="{9474D08C-07FB-4270-9741-F3F245E9DC5A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700135" y="1884680"/>
            <a:ext cx="2688585" cy="307777"/>
          </a:xfr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Mellomtittel</a:t>
            </a:r>
          </a:p>
        </p:txBody>
      </p:sp>
      <p:sp>
        <p:nvSpPr>
          <p:cNvPr id="19" name="Plassholder for innhold 2">
            <a:extLst>
              <a:ext uri="{FF2B5EF4-FFF2-40B4-BE49-F238E27FC236}">
                <a16:creationId xmlns:a16="http://schemas.microsoft.com/office/drawing/2014/main" id="{E69F2686-45C5-4D95-9EAF-D46D534ED3D5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8700135" y="2202180"/>
            <a:ext cx="2688585" cy="1484034"/>
          </a:xfr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0" name="Plassholder for tekst 2">
            <a:extLst>
              <a:ext uri="{FF2B5EF4-FFF2-40B4-BE49-F238E27FC236}">
                <a16:creationId xmlns:a16="http://schemas.microsoft.com/office/drawing/2014/main" id="{3FF69A63-78FB-49C5-852E-1C7559E69BF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8700135" y="4265890"/>
            <a:ext cx="2688585" cy="307777"/>
          </a:xfr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Mellomtittel</a:t>
            </a:r>
          </a:p>
        </p:txBody>
      </p:sp>
      <p:sp>
        <p:nvSpPr>
          <p:cNvPr id="21" name="Plassholder for innhold 2">
            <a:extLst>
              <a:ext uri="{FF2B5EF4-FFF2-40B4-BE49-F238E27FC236}">
                <a16:creationId xmlns:a16="http://schemas.microsoft.com/office/drawing/2014/main" id="{827A236F-F1E3-43A3-AEB2-F8044067EF4B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8700135" y="4583390"/>
            <a:ext cx="2688585" cy="1484034"/>
          </a:xfr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28386451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2CE88AE4-D6DC-47D7-95AB-19E519618CFA}" type="datetime1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761407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0076" y="1800225"/>
            <a:ext cx="5250657" cy="4500563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300787" y="1800225"/>
            <a:ext cx="5250657" cy="4500563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08.03.2023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9" name="Tittel 8"/>
          <p:cNvSpPr>
            <a:spLocks noGrp="1"/>
          </p:cNvSpPr>
          <p:nvPr>
            <p:ph type="title"/>
          </p:nvPr>
        </p:nvSpPr>
        <p:spPr>
          <a:xfrm>
            <a:off x="600077" y="900113"/>
            <a:ext cx="10951369" cy="72009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93459700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gu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EB01A1F4-F13F-4618-960E-81237E5EA3BF}" type="datetime1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767CD8C-E6E1-47F7-A9B5-467CDD16F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864037"/>
            <a:ext cx="8763000" cy="1169551"/>
          </a:xfrm>
        </p:spPr>
        <p:txBody>
          <a:bodyPr lIns="0" tIns="0" rIns="0" bIns="0" anchor="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8" name="Plassholder for tekst 17">
            <a:extLst>
              <a:ext uri="{FF2B5EF4-FFF2-40B4-BE49-F238E27FC236}">
                <a16:creationId xmlns:a16="http://schemas.microsoft.com/office/drawing/2014/main" id="{980D9618-CA67-4EEF-97EF-B19AAD4D2B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6925" y="2550667"/>
            <a:ext cx="2077202" cy="1141200"/>
          </a:xfrm>
          <a:custGeom>
            <a:avLst/>
            <a:gdLst>
              <a:gd name="connsiteX0" fmla="*/ 0 w 2077202"/>
              <a:gd name="connsiteY0" fmla="*/ 0 h 1141200"/>
              <a:gd name="connsiteX1" fmla="*/ 1925815 w 2077202"/>
              <a:gd name="connsiteY1" fmla="*/ 0 h 1141200"/>
              <a:gd name="connsiteX2" fmla="*/ 1925815 w 2077202"/>
              <a:gd name="connsiteY2" fmla="*/ 413919 h 1141200"/>
              <a:gd name="connsiteX3" fmla="*/ 2077202 w 2077202"/>
              <a:gd name="connsiteY3" fmla="*/ 570600 h 1141200"/>
              <a:gd name="connsiteX4" fmla="*/ 1925815 w 2077202"/>
              <a:gd name="connsiteY4" fmla="*/ 727406 h 1141200"/>
              <a:gd name="connsiteX5" fmla="*/ 1925815 w 2077202"/>
              <a:gd name="connsiteY5" fmla="*/ 1141200 h 1141200"/>
              <a:gd name="connsiteX6" fmla="*/ 0 w 2077202"/>
              <a:gd name="connsiteY6" fmla="*/ 1141200 h 114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77202" h="1141200">
                <a:moveTo>
                  <a:pt x="0" y="0"/>
                </a:moveTo>
                <a:lnTo>
                  <a:pt x="1925815" y="0"/>
                </a:lnTo>
                <a:lnTo>
                  <a:pt x="1925815" y="413919"/>
                </a:lnTo>
                <a:lnTo>
                  <a:pt x="2077202" y="570600"/>
                </a:lnTo>
                <a:lnTo>
                  <a:pt x="1925815" y="727406"/>
                </a:lnTo>
                <a:lnTo>
                  <a:pt x="1925815" y="1141200"/>
                </a:lnTo>
                <a:lnTo>
                  <a:pt x="0" y="1141200"/>
                </a:lnTo>
                <a:close/>
              </a:path>
            </a:pathLst>
          </a:custGeom>
          <a:solidFill>
            <a:srgbClr val="6CACE4"/>
          </a:solidFill>
        </p:spPr>
        <p:txBody>
          <a:bodyPr wrap="square" lIns="180000" rIns="324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Sett inn mellomtittel</a:t>
            </a:r>
          </a:p>
        </p:txBody>
      </p:sp>
      <p:sp>
        <p:nvSpPr>
          <p:cNvPr id="21" name="Plassholder for tekst 20">
            <a:extLst>
              <a:ext uri="{FF2B5EF4-FFF2-40B4-BE49-F238E27FC236}">
                <a16:creationId xmlns:a16="http://schemas.microsoft.com/office/drawing/2014/main" id="{294781A3-E6F4-4901-810C-582E1E51DBA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70263" y="2550667"/>
            <a:ext cx="2077202" cy="1141200"/>
          </a:xfrm>
          <a:custGeom>
            <a:avLst/>
            <a:gdLst>
              <a:gd name="connsiteX0" fmla="*/ 0 w 2077202"/>
              <a:gd name="connsiteY0" fmla="*/ 0 h 1141200"/>
              <a:gd name="connsiteX1" fmla="*/ 1925815 w 2077202"/>
              <a:gd name="connsiteY1" fmla="*/ 0 h 1141200"/>
              <a:gd name="connsiteX2" fmla="*/ 1925815 w 2077202"/>
              <a:gd name="connsiteY2" fmla="*/ 413919 h 1141200"/>
              <a:gd name="connsiteX3" fmla="*/ 2077202 w 2077202"/>
              <a:gd name="connsiteY3" fmla="*/ 570600 h 1141200"/>
              <a:gd name="connsiteX4" fmla="*/ 1925815 w 2077202"/>
              <a:gd name="connsiteY4" fmla="*/ 727406 h 1141200"/>
              <a:gd name="connsiteX5" fmla="*/ 1925815 w 2077202"/>
              <a:gd name="connsiteY5" fmla="*/ 1141200 h 1141200"/>
              <a:gd name="connsiteX6" fmla="*/ 0 w 2077202"/>
              <a:gd name="connsiteY6" fmla="*/ 1141200 h 114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77202" h="1141200">
                <a:moveTo>
                  <a:pt x="0" y="0"/>
                </a:moveTo>
                <a:lnTo>
                  <a:pt x="1925815" y="0"/>
                </a:lnTo>
                <a:lnTo>
                  <a:pt x="1925815" y="413919"/>
                </a:lnTo>
                <a:lnTo>
                  <a:pt x="2077202" y="570600"/>
                </a:lnTo>
                <a:lnTo>
                  <a:pt x="1925815" y="727406"/>
                </a:lnTo>
                <a:lnTo>
                  <a:pt x="1925815" y="1141200"/>
                </a:lnTo>
                <a:lnTo>
                  <a:pt x="0" y="1141200"/>
                </a:lnTo>
                <a:close/>
              </a:path>
            </a:pathLst>
          </a:custGeom>
          <a:solidFill>
            <a:srgbClr val="FFC845">
              <a:alpha val="80000"/>
            </a:srgbClr>
          </a:solidFill>
        </p:spPr>
        <p:txBody>
          <a:bodyPr wrap="square" lIns="180000" rIns="324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Sett inn mellomtittel</a:t>
            </a:r>
          </a:p>
        </p:txBody>
      </p:sp>
      <p:sp>
        <p:nvSpPr>
          <p:cNvPr id="22" name="Plassholder for tekst 21">
            <a:extLst>
              <a:ext uri="{FF2B5EF4-FFF2-40B4-BE49-F238E27FC236}">
                <a16:creationId xmlns:a16="http://schemas.microsoft.com/office/drawing/2014/main" id="{F43E154C-A850-46AE-94EE-7DA3A017EDA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48427" y="2550667"/>
            <a:ext cx="2077202" cy="1141200"/>
          </a:xfrm>
          <a:custGeom>
            <a:avLst/>
            <a:gdLst>
              <a:gd name="connsiteX0" fmla="*/ 0 w 2077202"/>
              <a:gd name="connsiteY0" fmla="*/ 0 h 1141200"/>
              <a:gd name="connsiteX1" fmla="*/ 1925815 w 2077202"/>
              <a:gd name="connsiteY1" fmla="*/ 0 h 1141200"/>
              <a:gd name="connsiteX2" fmla="*/ 1925815 w 2077202"/>
              <a:gd name="connsiteY2" fmla="*/ 413919 h 1141200"/>
              <a:gd name="connsiteX3" fmla="*/ 2077202 w 2077202"/>
              <a:gd name="connsiteY3" fmla="*/ 570600 h 1141200"/>
              <a:gd name="connsiteX4" fmla="*/ 1925815 w 2077202"/>
              <a:gd name="connsiteY4" fmla="*/ 727406 h 1141200"/>
              <a:gd name="connsiteX5" fmla="*/ 1925815 w 2077202"/>
              <a:gd name="connsiteY5" fmla="*/ 1141200 h 1141200"/>
              <a:gd name="connsiteX6" fmla="*/ 0 w 2077202"/>
              <a:gd name="connsiteY6" fmla="*/ 1141200 h 114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77202" h="1141200">
                <a:moveTo>
                  <a:pt x="0" y="0"/>
                </a:moveTo>
                <a:lnTo>
                  <a:pt x="1925815" y="0"/>
                </a:lnTo>
                <a:lnTo>
                  <a:pt x="1925815" y="413919"/>
                </a:lnTo>
                <a:lnTo>
                  <a:pt x="2077202" y="570600"/>
                </a:lnTo>
                <a:lnTo>
                  <a:pt x="1925815" y="727406"/>
                </a:lnTo>
                <a:lnTo>
                  <a:pt x="1925815" y="1141200"/>
                </a:lnTo>
                <a:lnTo>
                  <a:pt x="0" y="1141200"/>
                </a:lnTo>
                <a:close/>
              </a:path>
            </a:pathLst>
          </a:custGeom>
          <a:solidFill>
            <a:srgbClr val="FF671F">
              <a:alpha val="80000"/>
            </a:srgbClr>
          </a:solidFill>
        </p:spPr>
        <p:txBody>
          <a:bodyPr wrap="square" lIns="180000" rIns="324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Sett inn mellomtittel</a:t>
            </a:r>
          </a:p>
        </p:txBody>
      </p:sp>
      <p:sp>
        <p:nvSpPr>
          <p:cNvPr id="23" name="Plassholder for tekst 22">
            <a:extLst>
              <a:ext uri="{FF2B5EF4-FFF2-40B4-BE49-F238E27FC236}">
                <a16:creationId xmlns:a16="http://schemas.microsoft.com/office/drawing/2014/main" id="{0B365A76-FEDD-4EE5-8005-0FEC4515D9E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26591" y="2550667"/>
            <a:ext cx="2077202" cy="1141200"/>
          </a:xfrm>
          <a:custGeom>
            <a:avLst/>
            <a:gdLst>
              <a:gd name="connsiteX0" fmla="*/ 0 w 2077202"/>
              <a:gd name="connsiteY0" fmla="*/ 0 h 1141200"/>
              <a:gd name="connsiteX1" fmla="*/ 1925815 w 2077202"/>
              <a:gd name="connsiteY1" fmla="*/ 0 h 1141200"/>
              <a:gd name="connsiteX2" fmla="*/ 1925815 w 2077202"/>
              <a:gd name="connsiteY2" fmla="*/ 413919 h 1141200"/>
              <a:gd name="connsiteX3" fmla="*/ 2077202 w 2077202"/>
              <a:gd name="connsiteY3" fmla="*/ 570600 h 1141200"/>
              <a:gd name="connsiteX4" fmla="*/ 1925815 w 2077202"/>
              <a:gd name="connsiteY4" fmla="*/ 727406 h 1141200"/>
              <a:gd name="connsiteX5" fmla="*/ 1925815 w 2077202"/>
              <a:gd name="connsiteY5" fmla="*/ 1141200 h 1141200"/>
              <a:gd name="connsiteX6" fmla="*/ 0 w 2077202"/>
              <a:gd name="connsiteY6" fmla="*/ 1141200 h 114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77202" h="1141200">
                <a:moveTo>
                  <a:pt x="0" y="0"/>
                </a:moveTo>
                <a:lnTo>
                  <a:pt x="1925815" y="0"/>
                </a:lnTo>
                <a:lnTo>
                  <a:pt x="1925815" y="413919"/>
                </a:lnTo>
                <a:lnTo>
                  <a:pt x="2077202" y="570600"/>
                </a:lnTo>
                <a:lnTo>
                  <a:pt x="1925815" y="727406"/>
                </a:lnTo>
                <a:lnTo>
                  <a:pt x="1925815" y="1141200"/>
                </a:lnTo>
                <a:lnTo>
                  <a:pt x="0" y="1141200"/>
                </a:lnTo>
                <a:close/>
              </a:path>
            </a:pathLst>
          </a:custGeom>
          <a:solidFill>
            <a:srgbClr val="BFCED6">
              <a:alpha val="80000"/>
            </a:srgbClr>
          </a:solidFill>
        </p:spPr>
        <p:txBody>
          <a:bodyPr wrap="square" lIns="180000" rIns="324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Sett inn mellomtittel</a:t>
            </a:r>
          </a:p>
        </p:txBody>
      </p:sp>
      <p:sp>
        <p:nvSpPr>
          <p:cNvPr id="24" name="Plassholder for tekst 23">
            <a:extLst>
              <a:ext uri="{FF2B5EF4-FFF2-40B4-BE49-F238E27FC236}">
                <a16:creationId xmlns:a16="http://schemas.microsoft.com/office/drawing/2014/main" id="{FAF72941-2213-48F9-A258-464DB4AE06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504755" y="2550667"/>
            <a:ext cx="2077202" cy="1141200"/>
          </a:xfrm>
          <a:custGeom>
            <a:avLst/>
            <a:gdLst>
              <a:gd name="connsiteX0" fmla="*/ 0 w 2077202"/>
              <a:gd name="connsiteY0" fmla="*/ 0 h 1141200"/>
              <a:gd name="connsiteX1" fmla="*/ 1925815 w 2077202"/>
              <a:gd name="connsiteY1" fmla="*/ 0 h 1141200"/>
              <a:gd name="connsiteX2" fmla="*/ 1925815 w 2077202"/>
              <a:gd name="connsiteY2" fmla="*/ 413919 h 1141200"/>
              <a:gd name="connsiteX3" fmla="*/ 2077202 w 2077202"/>
              <a:gd name="connsiteY3" fmla="*/ 570600 h 1141200"/>
              <a:gd name="connsiteX4" fmla="*/ 1925815 w 2077202"/>
              <a:gd name="connsiteY4" fmla="*/ 727406 h 1141200"/>
              <a:gd name="connsiteX5" fmla="*/ 1925815 w 2077202"/>
              <a:gd name="connsiteY5" fmla="*/ 1141200 h 1141200"/>
              <a:gd name="connsiteX6" fmla="*/ 0 w 2077202"/>
              <a:gd name="connsiteY6" fmla="*/ 1141200 h 114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77202" h="1141200">
                <a:moveTo>
                  <a:pt x="0" y="0"/>
                </a:moveTo>
                <a:lnTo>
                  <a:pt x="1925815" y="0"/>
                </a:lnTo>
                <a:lnTo>
                  <a:pt x="1925815" y="413919"/>
                </a:lnTo>
                <a:lnTo>
                  <a:pt x="2077202" y="570600"/>
                </a:lnTo>
                <a:lnTo>
                  <a:pt x="1925815" y="727406"/>
                </a:lnTo>
                <a:lnTo>
                  <a:pt x="1925815" y="1141200"/>
                </a:lnTo>
                <a:lnTo>
                  <a:pt x="0" y="1141200"/>
                </a:lnTo>
                <a:close/>
              </a:path>
            </a:pathLst>
          </a:custGeom>
          <a:solidFill>
            <a:srgbClr val="6FA287">
              <a:alpha val="60000"/>
            </a:srgbClr>
          </a:solidFill>
        </p:spPr>
        <p:txBody>
          <a:bodyPr wrap="square" lIns="180000" rIns="324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Sett inn mellomtittel</a:t>
            </a:r>
          </a:p>
        </p:txBody>
      </p:sp>
      <p:sp>
        <p:nvSpPr>
          <p:cNvPr id="26" name="Plassholder for tekst 25">
            <a:extLst>
              <a:ext uri="{FF2B5EF4-FFF2-40B4-BE49-F238E27FC236}">
                <a16:creationId xmlns:a16="http://schemas.microsoft.com/office/drawing/2014/main" id="{B683161D-B5CD-4402-B040-A0C53012115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96925" y="4099487"/>
            <a:ext cx="1946275" cy="1963175"/>
          </a:xfrm>
        </p:spPr>
        <p:txBody>
          <a:bodyPr/>
          <a:lstStyle>
            <a:lvl1pPr marL="0" indent="0">
              <a:buNone/>
              <a:defRPr/>
            </a:lvl1pPr>
            <a:lvl2pPr marL="304800" indent="0"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</p:txBody>
      </p:sp>
      <p:sp>
        <p:nvSpPr>
          <p:cNvPr id="27" name="Plassholder for tekst 25">
            <a:extLst>
              <a:ext uri="{FF2B5EF4-FFF2-40B4-BE49-F238E27FC236}">
                <a16:creationId xmlns:a16="http://schemas.microsoft.com/office/drawing/2014/main" id="{1CFE57D9-0F71-4D97-9C49-4F0EEE5E8DB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970263" y="4099487"/>
            <a:ext cx="1946275" cy="1963175"/>
          </a:xfrm>
        </p:spPr>
        <p:txBody>
          <a:bodyPr/>
          <a:lstStyle>
            <a:lvl1pPr marL="0" indent="0">
              <a:buNone/>
              <a:defRPr/>
            </a:lvl1pPr>
            <a:lvl2pPr marL="304800" indent="0"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</p:txBody>
      </p:sp>
      <p:sp>
        <p:nvSpPr>
          <p:cNvPr id="28" name="Plassholder for tekst 25">
            <a:extLst>
              <a:ext uri="{FF2B5EF4-FFF2-40B4-BE49-F238E27FC236}">
                <a16:creationId xmlns:a16="http://schemas.microsoft.com/office/drawing/2014/main" id="{CEC8F951-6502-4237-9074-25F2C25EBA6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43601" y="4099487"/>
            <a:ext cx="1946275" cy="1963175"/>
          </a:xfrm>
        </p:spPr>
        <p:txBody>
          <a:bodyPr/>
          <a:lstStyle>
            <a:lvl1pPr marL="0" indent="0">
              <a:buNone/>
              <a:defRPr/>
            </a:lvl1pPr>
            <a:lvl2pPr marL="304800" indent="0"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</p:txBody>
      </p:sp>
      <p:sp>
        <p:nvSpPr>
          <p:cNvPr id="29" name="Plassholder for tekst 25">
            <a:extLst>
              <a:ext uri="{FF2B5EF4-FFF2-40B4-BE49-F238E27FC236}">
                <a16:creationId xmlns:a16="http://schemas.microsoft.com/office/drawing/2014/main" id="{8045DC42-5803-46CB-B7A0-A131E098534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316939" y="4099487"/>
            <a:ext cx="1946275" cy="1963175"/>
          </a:xfrm>
        </p:spPr>
        <p:txBody>
          <a:bodyPr/>
          <a:lstStyle>
            <a:lvl1pPr marL="0" indent="0">
              <a:buNone/>
              <a:defRPr/>
            </a:lvl1pPr>
            <a:lvl2pPr marL="304800" indent="0"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</p:txBody>
      </p:sp>
      <p:sp>
        <p:nvSpPr>
          <p:cNvPr id="30" name="Plassholder for tekst 25">
            <a:extLst>
              <a:ext uri="{FF2B5EF4-FFF2-40B4-BE49-F238E27FC236}">
                <a16:creationId xmlns:a16="http://schemas.microsoft.com/office/drawing/2014/main" id="{154DCB59-20D9-44F4-BD70-3558B1E4C18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490277" y="4099487"/>
            <a:ext cx="1946275" cy="1963175"/>
          </a:xfrm>
        </p:spPr>
        <p:txBody>
          <a:bodyPr/>
          <a:lstStyle>
            <a:lvl1pPr marL="0" indent="0">
              <a:buNone/>
              <a:defRPr/>
            </a:lvl1pPr>
            <a:lvl2pPr marL="304800" indent="0"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</p:txBody>
      </p:sp>
    </p:spTree>
    <p:extLst>
      <p:ext uri="{BB962C8B-B14F-4D97-AF65-F5344CB8AC3E}">
        <p14:creationId xmlns:p14="http://schemas.microsoft.com/office/powerpoint/2010/main" val="422462192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CC0ECB62-1AEE-44CF-B49B-E42FC5854D2B}"/>
              </a:ext>
            </a:extLst>
          </p:cNvPr>
          <p:cNvSpPr>
            <a:spLocks/>
          </p:cNvSpPr>
          <p:nvPr userDrawn="1"/>
        </p:nvSpPr>
        <p:spPr>
          <a:xfrm>
            <a:off x="0" y="986653"/>
            <a:ext cx="12192000" cy="587134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E0AB172-1CA3-41A2-A981-1FAE41E0AE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28901" y="2472029"/>
            <a:ext cx="7326312" cy="1169551"/>
          </a:xfrm>
        </p:spPr>
        <p:txBody>
          <a:bodyPr wrap="square" lIns="0" tIns="0" rIns="0" bIns="0" anchor="b">
            <a:noAutofit/>
          </a:bodyPr>
          <a:lstStyle>
            <a:lvl1pPr algn="ctr">
              <a:defRPr sz="380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32A96FBF-2AD2-49E7-82B8-77F232A2D3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28901" y="3981884"/>
            <a:ext cx="7326312" cy="615553"/>
          </a:xfrm>
        </p:spPr>
        <p:txBody>
          <a:bodyPr wrap="square" lIns="0" tIns="0" rIns="0" bIns="0">
            <a:noAutofit/>
          </a:bodyPr>
          <a:lstStyle>
            <a:lvl1pPr marL="0" indent="0" algn="ctr">
              <a:buNone/>
              <a:defRPr sz="2000">
                <a:solidFill>
                  <a:schemeClr val="l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435EFE49-716E-4BC2-9EFC-F6C4F62E78E1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0958471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CC0ECB62-1AEE-44CF-B49B-E42FC5854D2B}"/>
              </a:ext>
            </a:extLst>
          </p:cNvPr>
          <p:cNvSpPr>
            <a:spLocks/>
          </p:cNvSpPr>
          <p:nvPr userDrawn="1"/>
        </p:nvSpPr>
        <p:spPr>
          <a:xfrm>
            <a:off x="0" y="986400"/>
            <a:ext cx="12192000" cy="5871600"/>
          </a:xfrm>
          <a:prstGeom prst="rect">
            <a:avLst/>
          </a:prstGeom>
          <a:solidFill>
            <a:srgbClr val="557C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E0AB172-1CA3-41A2-A981-1FAE41E0AE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28901" y="2472029"/>
            <a:ext cx="7326312" cy="1169551"/>
          </a:xfrm>
        </p:spPr>
        <p:txBody>
          <a:bodyPr wrap="square" lIns="0" tIns="0" rIns="0" bIns="0" anchor="b">
            <a:noAutofit/>
          </a:bodyPr>
          <a:lstStyle>
            <a:lvl1pPr algn="ctr">
              <a:defRPr sz="380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32A96FBF-2AD2-49E7-82B8-77F232A2D3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28901" y="3981884"/>
            <a:ext cx="7326312" cy="615553"/>
          </a:xfrm>
        </p:spPr>
        <p:txBody>
          <a:bodyPr wrap="square" lIns="0" tIns="0" rIns="0" bIns="0">
            <a:noAutofit/>
          </a:bodyPr>
          <a:lstStyle>
            <a:lvl1pPr marL="0" indent="0" algn="ctr">
              <a:buNone/>
              <a:defRPr sz="2000">
                <a:solidFill>
                  <a:schemeClr val="l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15C60970-FE6A-4F74-8A2F-7457C909ED37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2082985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CC0ECB62-1AEE-44CF-B49B-E42FC5854D2B}"/>
              </a:ext>
            </a:extLst>
          </p:cNvPr>
          <p:cNvSpPr>
            <a:spLocks/>
          </p:cNvSpPr>
          <p:nvPr userDrawn="1"/>
        </p:nvSpPr>
        <p:spPr>
          <a:xfrm>
            <a:off x="0" y="986653"/>
            <a:ext cx="12192000" cy="58867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E0AB172-1CA3-41A2-A981-1FAE41E0AE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28901" y="2472029"/>
            <a:ext cx="7326312" cy="1169551"/>
          </a:xfrm>
        </p:spPr>
        <p:txBody>
          <a:bodyPr wrap="square" lIns="0" tIns="0" rIns="0" bIns="0" anchor="b">
            <a:noAutofit/>
          </a:bodyPr>
          <a:lstStyle>
            <a:lvl1pPr algn="ctr">
              <a:defRPr sz="380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32A96FBF-2AD2-49E7-82B8-77F232A2D3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28901" y="3981884"/>
            <a:ext cx="7326312" cy="615553"/>
          </a:xfrm>
        </p:spPr>
        <p:txBody>
          <a:bodyPr wrap="square" lIns="0" tIns="0" rIns="0" bIns="0">
            <a:noAutofit/>
          </a:bodyPr>
          <a:lstStyle>
            <a:lvl1pPr marL="0" indent="0" algn="ctr">
              <a:buNone/>
              <a:defRPr sz="2000">
                <a:solidFill>
                  <a:schemeClr val="l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6BF4CE17-8F5C-4F1D-B0BF-C08FC4116DFF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8280731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side med tekst og lite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CC0ECB62-1AEE-44CF-B49B-E42FC5854D2B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7745756" cy="6873389"/>
          </a:xfrm>
          <a:prstGeom prst="rect">
            <a:avLst/>
          </a:prstGeom>
          <a:solidFill>
            <a:srgbClr val="ADDFB3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E0AB172-1CA3-41A2-A981-1FAE41E0AE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6926" y="1919145"/>
            <a:ext cx="5099049" cy="1169551"/>
          </a:xfrm>
        </p:spPr>
        <p:txBody>
          <a:bodyPr wrap="square" lIns="0" tIns="0" rIns="0" bIns="0" anchor="b">
            <a:noAutofit/>
          </a:bodyPr>
          <a:lstStyle>
            <a:lvl1pPr algn="l">
              <a:defRPr sz="3800">
                <a:solidFill>
                  <a:schemeClr val="dk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32A96FBF-2AD2-49E7-82B8-77F232A2D3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6926" y="3429000"/>
            <a:ext cx="5099049" cy="615553"/>
          </a:xfrm>
        </p:spPr>
        <p:txBody>
          <a:bodyPr wrap="square"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dk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E03A77A0-1B30-4FB6-A7F4-2AB117921877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Plassholder for bilde 8">
            <a:extLst>
              <a:ext uri="{FF2B5EF4-FFF2-40B4-BE49-F238E27FC236}">
                <a16:creationId xmlns:a16="http://schemas.microsoft.com/office/drawing/2014/main" id="{272F82BE-F1C9-48CB-AC9E-52F6EFCCF49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91263" y="976312"/>
            <a:ext cx="5097462" cy="5086351"/>
          </a:xfrm>
          <a:solidFill>
            <a:schemeClr val="lt2"/>
          </a:solidFill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11" name="Plassholder for tekst 2">
            <a:extLst>
              <a:ext uri="{FF2B5EF4-FFF2-40B4-BE49-F238E27FC236}">
                <a16:creationId xmlns:a16="http://schemas.microsoft.com/office/drawing/2014/main" id="{19A61B69-527E-204C-A794-5F5CC653CA7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56129" y="2413000"/>
            <a:ext cx="107722" cy="3649664"/>
          </a:xfrm>
        </p:spPr>
        <p:txBody>
          <a:bodyPr vert="vert">
            <a:spAutoFit/>
          </a:bodyPr>
          <a:lstStyle>
            <a:lvl1pPr marL="0" indent="0" algn="r">
              <a:buNone/>
              <a:defRPr lang="nb-NO" sz="700" b="0" i="0" u="none" strike="noStrike" smtClean="0">
                <a:effectLst/>
              </a:defRPr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av fotograf</a:t>
            </a:r>
          </a:p>
        </p:txBody>
      </p:sp>
      <p:pic>
        <p:nvPicPr>
          <p:cNvPr id="12" name="Grafikk 11">
            <a:extLst>
              <a:ext uri="{FF2B5EF4-FFF2-40B4-BE49-F238E27FC236}">
                <a16:creationId xmlns:a16="http://schemas.microsoft.com/office/drawing/2014/main" id="{176B1D5F-6793-304B-A952-1D5516B71E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043778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side med tekst og lite 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CC0ECB62-1AEE-44CF-B49B-E42FC5854D2B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4064000" cy="687338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Plassholder for bilde 8">
            <a:extLst>
              <a:ext uri="{FF2B5EF4-FFF2-40B4-BE49-F238E27FC236}">
                <a16:creationId xmlns:a16="http://schemas.microsoft.com/office/drawing/2014/main" id="{7ABC5F84-5B0B-40B1-95B9-B8959CC84B7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98513" y="976312"/>
            <a:ext cx="5097462" cy="5086351"/>
          </a:xfrm>
          <a:solidFill>
            <a:schemeClr val="lt2"/>
          </a:solidFill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E0AB172-1CA3-41A2-A981-1FAE41E0AE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91264" y="1919145"/>
            <a:ext cx="5097462" cy="1169551"/>
          </a:xfrm>
        </p:spPr>
        <p:txBody>
          <a:bodyPr wrap="square" lIns="0" tIns="0" rIns="0" bIns="0" anchor="b">
            <a:noAutofit/>
          </a:bodyPr>
          <a:lstStyle>
            <a:lvl1pPr algn="l">
              <a:defRPr sz="3800">
                <a:solidFill>
                  <a:schemeClr val="dk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32A96FBF-2AD2-49E7-82B8-77F232A2D3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91264" y="3429000"/>
            <a:ext cx="5097462" cy="615553"/>
          </a:xfrm>
        </p:spPr>
        <p:txBody>
          <a:bodyPr wrap="square"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dk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ADF2BF78-71A9-4214-8D45-00E0363A513E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Plassholder for tekst 2">
            <a:extLst>
              <a:ext uri="{FF2B5EF4-FFF2-40B4-BE49-F238E27FC236}">
                <a16:creationId xmlns:a16="http://schemas.microsoft.com/office/drawing/2014/main" id="{0FDE9D9C-A8AB-CF48-8328-3B918E7911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506" y="2413000"/>
            <a:ext cx="107722" cy="3649664"/>
          </a:xfrm>
        </p:spPr>
        <p:txBody>
          <a:bodyPr vert="vert">
            <a:spAutoFit/>
          </a:bodyPr>
          <a:lstStyle>
            <a:lvl1pPr marL="0" indent="0" algn="r">
              <a:buNone/>
              <a:defRPr lang="nb-NO" sz="700" b="0" i="0" u="none" strike="noStrike" smtClean="0">
                <a:effectLst/>
              </a:defRPr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av fotograf</a:t>
            </a:r>
          </a:p>
        </p:txBody>
      </p:sp>
      <p:pic>
        <p:nvPicPr>
          <p:cNvPr id="12" name="Grafikk 11">
            <a:extLst>
              <a:ext uri="{FF2B5EF4-FFF2-40B4-BE49-F238E27FC236}">
                <a16:creationId xmlns:a16="http://schemas.microsoft.com/office/drawing/2014/main" id="{A3BAEC17-17CB-9943-A4B3-CFACD18E37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287881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side med tekst og stor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2C6BCA24-2492-4D5E-851B-D133BE6BD08C}"/>
              </a:ext>
            </a:extLst>
          </p:cNvPr>
          <p:cNvSpPr/>
          <p:nvPr userDrawn="1"/>
        </p:nvSpPr>
        <p:spPr>
          <a:xfrm>
            <a:off x="406400" y="0"/>
            <a:ext cx="4064400" cy="4939200"/>
          </a:xfrm>
          <a:prstGeom prst="rect">
            <a:avLst/>
          </a:prstGeom>
          <a:solidFill>
            <a:srgbClr val="CEEC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3" name="Plassholder for bilde 12">
            <a:extLst>
              <a:ext uri="{FF2B5EF4-FFF2-40B4-BE49-F238E27FC236}">
                <a16:creationId xmlns:a16="http://schemas.microsoft.com/office/drawing/2014/main" id="{9E8A3748-D9BC-4588-9124-CBF265D47AB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986653"/>
            <a:ext cx="12192000" cy="5886736"/>
          </a:xfrm>
          <a:custGeom>
            <a:avLst/>
            <a:gdLst>
              <a:gd name="connsiteX0" fmla="*/ 0 w 12192000"/>
              <a:gd name="connsiteY0" fmla="*/ 0 h 5886736"/>
              <a:gd name="connsiteX1" fmla="*/ 406400 w 12192000"/>
              <a:gd name="connsiteY1" fmla="*/ 0 h 5886736"/>
              <a:gd name="connsiteX2" fmla="*/ 406400 w 12192000"/>
              <a:gd name="connsiteY2" fmla="*/ 3953669 h 5886736"/>
              <a:gd name="connsiteX3" fmla="*/ 4470400 w 12192000"/>
              <a:gd name="connsiteY3" fmla="*/ 3953669 h 5886736"/>
              <a:gd name="connsiteX4" fmla="*/ 4470400 w 12192000"/>
              <a:gd name="connsiteY4" fmla="*/ 0 h 5886736"/>
              <a:gd name="connsiteX5" fmla="*/ 12192000 w 12192000"/>
              <a:gd name="connsiteY5" fmla="*/ 0 h 5886736"/>
              <a:gd name="connsiteX6" fmla="*/ 12192000 w 12192000"/>
              <a:gd name="connsiteY6" fmla="*/ 5886736 h 5886736"/>
              <a:gd name="connsiteX7" fmla="*/ 0 w 12192000"/>
              <a:gd name="connsiteY7" fmla="*/ 5886736 h 5886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5886736">
                <a:moveTo>
                  <a:pt x="0" y="0"/>
                </a:moveTo>
                <a:lnTo>
                  <a:pt x="406400" y="0"/>
                </a:lnTo>
                <a:lnTo>
                  <a:pt x="406400" y="3953669"/>
                </a:lnTo>
                <a:lnTo>
                  <a:pt x="4470400" y="3953669"/>
                </a:lnTo>
                <a:lnTo>
                  <a:pt x="4470400" y="0"/>
                </a:lnTo>
                <a:lnTo>
                  <a:pt x="12192000" y="0"/>
                </a:lnTo>
                <a:lnTo>
                  <a:pt x="12192000" y="5886736"/>
                </a:lnTo>
                <a:lnTo>
                  <a:pt x="0" y="5886736"/>
                </a:lnTo>
                <a:close/>
              </a:path>
            </a:pathLst>
          </a:cu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E0AB172-1CA3-41A2-A981-1FAE41E0AE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6925" y="369794"/>
            <a:ext cx="3267075" cy="2991925"/>
          </a:xfrm>
        </p:spPr>
        <p:txBody>
          <a:bodyPr wrap="square" lIns="0" tIns="0" rIns="0" bIns="0" anchor="b">
            <a:noAutofit/>
          </a:bodyPr>
          <a:lstStyle>
            <a:lvl1pPr algn="l">
              <a:defRPr sz="3800">
                <a:solidFill>
                  <a:schemeClr val="dk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32A96FBF-2AD2-49E7-82B8-77F232A2D3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8513" y="3995788"/>
            <a:ext cx="3265487" cy="615553"/>
          </a:xfrm>
        </p:spPr>
        <p:txBody>
          <a:bodyPr wrap="square"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dk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7540A8F8-C481-4CBC-B329-75A7F15DEA2F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Plassholder for tekst 2">
            <a:extLst>
              <a:ext uri="{FF2B5EF4-FFF2-40B4-BE49-F238E27FC236}">
                <a16:creationId xmlns:a16="http://schemas.microsoft.com/office/drawing/2014/main" id="{9B83EA47-4C8F-6945-9467-5327596A61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16200000">
            <a:off x="10166464" y="4851828"/>
            <a:ext cx="107722" cy="3649664"/>
          </a:xfrm>
        </p:spPr>
        <p:txBody>
          <a:bodyPr vert="vert">
            <a:spAutoFit/>
          </a:bodyPr>
          <a:lstStyle>
            <a:lvl1pPr marL="0" indent="0" algn="r">
              <a:buNone/>
              <a:defRPr lang="nb-NO" sz="700" b="0" i="0" u="none" strike="noStrike" smtClean="0">
                <a:effectLst/>
              </a:defRPr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av fotograf</a:t>
            </a:r>
          </a:p>
        </p:txBody>
      </p:sp>
    </p:spTree>
    <p:extLst>
      <p:ext uri="{BB962C8B-B14F-4D97-AF65-F5344CB8AC3E}">
        <p14:creationId xmlns:p14="http://schemas.microsoft.com/office/powerpoint/2010/main" val="75546025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side med tekst og stort 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bilde 12">
            <a:extLst>
              <a:ext uri="{FF2B5EF4-FFF2-40B4-BE49-F238E27FC236}">
                <a16:creationId xmlns:a16="http://schemas.microsoft.com/office/drawing/2014/main" id="{9E8A3748-D9BC-4588-9124-CBF265D47AB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986653"/>
            <a:ext cx="12192000" cy="5886736"/>
          </a:xfrm>
          <a:custGeom>
            <a:avLst/>
            <a:gdLst>
              <a:gd name="connsiteX0" fmla="*/ 0 w 12192000"/>
              <a:gd name="connsiteY0" fmla="*/ 0 h 5886736"/>
              <a:gd name="connsiteX1" fmla="*/ 406400 w 12192000"/>
              <a:gd name="connsiteY1" fmla="*/ 0 h 5886736"/>
              <a:gd name="connsiteX2" fmla="*/ 406400 w 12192000"/>
              <a:gd name="connsiteY2" fmla="*/ 3953669 h 5886736"/>
              <a:gd name="connsiteX3" fmla="*/ 4470400 w 12192000"/>
              <a:gd name="connsiteY3" fmla="*/ 3953669 h 5886736"/>
              <a:gd name="connsiteX4" fmla="*/ 4470400 w 12192000"/>
              <a:gd name="connsiteY4" fmla="*/ 0 h 5886736"/>
              <a:gd name="connsiteX5" fmla="*/ 12192000 w 12192000"/>
              <a:gd name="connsiteY5" fmla="*/ 0 h 5886736"/>
              <a:gd name="connsiteX6" fmla="*/ 12192000 w 12192000"/>
              <a:gd name="connsiteY6" fmla="*/ 5886736 h 5886736"/>
              <a:gd name="connsiteX7" fmla="*/ 0 w 12192000"/>
              <a:gd name="connsiteY7" fmla="*/ 5886736 h 5886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5886736">
                <a:moveTo>
                  <a:pt x="0" y="0"/>
                </a:moveTo>
                <a:lnTo>
                  <a:pt x="406400" y="0"/>
                </a:lnTo>
                <a:lnTo>
                  <a:pt x="406400" y="3953669"/>
                </a:lnTo>
                <a:lnTo>
                  <a:pt x="4470400" y="3953669"/>
                </a:lnTo>
                <a:lnTo>
                  <a:pt x="4470400" y="0"/>
                </a:lnTo>
                <a:lnTo>
                  <a:pt x="12192000" y="0"/>
                </a:lnTo>
                <a:lnTo>
                  <a:pt x="12192000" y="5886736"/>
                </a:lnTo>
                <a:lnTo>
                  <a:pt x="0" y="5886736"/>
                </a:lnTo>
                <a:close/>
              </a:path>
            </a:pathLst>
          </a:cu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0D477F9B-9F58-4B5C-835B-EEB557C86025}"/>
              </a:ext>
            </a:extLst>
          </p:cNvPr>
          <p:cNvSpPr>
            <a:spLocks/>
          </p:cNvSpPr>
          <p:nvPr userDrawn="1"/>
        </p:nvSpPr>
        <p:spPr>
          <a:xfrm>
            <a:off x="406400" y="0"/>
            <a:ext cx="4064000" cy="49403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32A96FBF-2AD2-49E7-82B8-77F232A2D3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8513" y="3995788"/>
            <a:ext cx="3265487" cy="615553"/>
          </a:xfrm>
        </p:spPr>
        <p:txBody>
          <a:bodyPr wrap="square"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l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EEA361D0-87B0-4C01-8535-BCAFFBF87541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768FFDB9-DEC0-4ED2-AA73-EFDCD40205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6925" y="369794"/>
            <a:ext cx="3267075" cy="2991925"/>
          </a:xfrm>
        </p:spPr>
        <p:txBody>
          <a:bodyPr wrap="square" lIns="0" tIns="0" rIns="0" bIns="0" anchor="b">
            <a:noAutofit/>
          </a:bodyPr>
          <a:lstStyle>
            <a:lvl1pPr algn="l">
              <a:defRPr sz="38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tekst 2">
            <a:extLst>
              <a:ext uri="{FF2B5EF4-FFF2-40B4-BE49-F238E27FC236}">
                <a16:creationId xmlns:a16="http://schemas.microsoft.com/office/drawing/2014/main" id="{9BBF87C4-A7B5-134E-8831-50A2AE67C78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16200000">
            <a:off x="10166464" y="4851828"/>
            <a:ext cx="107722" cy="3649664"/>
          </a:xfrm>
        </p:spPr>
        <p:txBody>
          <a:bodyPr vert="vert">
            <a:spAutoFit/>
          </a:bodyPr>
          <a:lstStyle>
            <a:lvl1pPr marL="0" indent="0" algn="r">
              <a:buNone/>
              <a:defRPr lang="nb-NO" sz="700" b="0" i="0" u="none" strike="noStrike" smtClean="0">
                <a:effectLst/>
              </a:defRPr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av fotograf</a:t>
            </a:r>
          </a:p>
        </p:txBody>
      </p:sp>
    </p:spTree>
    <p:extLst>
      <p:ext uri="{BB962C8B-B14F-4D97-AF65-F5344CB8AC3E}">
        <p14:creationId xmlns:p14="http://schemas.microsoft.com/office/powerpoint/2010/main" val="188670363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74D9D44-98FA-4766-8341-8FC3D86332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00747B07-4572-40CF-B463-9CF5EBF58E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926" y="2413000"/>
            <a:ext cx="8763000" cy="3649664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D869DCCC-FA35-4BC3-B401-3AF1C6FBDB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A852B1F4-6138-4225-A9A8-727786CA4CFA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C8BCE1B-16B5-4C51-BA48-E53851E99C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A2456F09-A299-4ECB-99F6-48D6F352DC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4283040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6729766-028C-47E0-B4C0-A2A5CFB050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9AFA5423-2D6F-4DEB-BD8E-434061892E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7C01F237-A6AB-4B8D-8F87-3AF6EC629C80}" type="datetime1">
              <a:rPr lang="nb-NO" smtClean="0"/>
              <a:t>08.03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B91FCA3-AAB1-4942-A403-EB01037198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0F52D164-B8A5-4C80-8608-6FCB80F2E4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>
            <a:extLst>
              <a:ext uri="{FF2B5EF4-FFF2-40B4-BE49-F238E27FC236}">
                <a16:creationId xmlns:a16="http://schemas.microsoft.com/office/drawing/2014/main" id="{D4C05C0E-D386-4C2B-8D54-20A35582EA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925" y="2413000"/>
            <a:ext cx="5097462" cy="3649664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5E1BB4FF-EB57-43DA-9720-67307DA703D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91264" y="2413000"/>
            <a:ext cx="5097462" cy="3649664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3378740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0076" y="1800226"/>
            <a:ext cx="5250657" cy="600075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380970" indent="0">
              <a:buNone/>
              <a:defRPr sz="1667" b="1"/>
            </a:lvl2pPr>
            <a:lvl3pPr marL="761940" indent="0">
              <a:buNone/>
              <a:defRPr sz="1500" b="1"/>
            </a:lvl3pPr>
            <a:lvl4pPr marL="1142908" indent="0">
              <a:buNone/>
              <a:defRPr sz="1333" b="1"/>
            </a:lvl4pPr>
            <a:lvl5pPr marL="1523878" indent="0">
              <a:buNone/>
              <a:defRPr sz="1333" b="1"/>
            </a:lvl5pPr>
            <a:lvl6pPr marL="1904848" indent="0">
              <a:buNone/>
              <a:defRPr sz="1333" b="1"/>
            </a:lvl6pPr>
            <a:lvl7pPr marL="2285818" indent="0">
              <a:buNone/>
              <a:defRPr sz="1333" b="1"/>
            </a:lvl7pPr>
            <a:lvl8pPr marL="2666787" indent="0">
              <a:buNone/>
              <a:defRPr sz="1333" b="1"/>
            </a:lvl8pPr>
            <a:lvl9pPr marL="3047756" indent="0">
              <a:buNone/>
              <a:defRPr sz="1333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00076" y="2550321"/>
            <a:ext cx="5250657" cy="3750469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300787" y="1800226"/>
            <a:ext cx="5250657" cy="600075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380970" indent="0">
              <a:buNone/>
              <a:defRPr sz="1667" b="1"/>
            </a:lvl2pPr>
            <a:lvl3pPr marL="761940" indent="0">
              <a:buNone/>
              <a:defRPr sz="1500" b="1"/>
            </a:lvl3pPr>
            <a:lvl4pPr marL="1142908" indent="0">
              <a:buNone/>
              <a:defRPr sz="1333" b="1"/>
            </a:lvl4pPr>
            <a:lvl5pPr marL="1523878" indent="0">
              <a:buNone/>
              <a:defRPr sz="1333" b="1"/>
            </a:lvl5pPr>
            <a:lvl6pPr marL="1904848" indent="0">
              <a:buNone/>
              <a:defRPr sz="1333" b="1"/>
            </a:lvl6pPr>
            <a:lvl7pPr marL="2285818" indent="0">
              <a:buNone/>
              <a:defRPr sz="1333" b="1"/>
            </a:lvl7pPr>
            <a:lvl8pPr marL="2666787" indent="0">
              <a:buNone/>
              <a:defRPr sz="1333" b="1"/>
            </a:lvl8pPr>
            <a:lvl9pPr marL="3047756" indent="0">
              <a:buNone/>
              <a:defRPr sz="1333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6300787" y="2550321"/>
            <a:ext cx="5250657" cy="3750469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11" name="Tit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721634736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med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6729766-028C-47E0-B4C0-A2A5CFB050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9AFA5423-2D6F-4DEB-BD8E-434061892E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DAE63A93-2561-4A89-A7E2-7BE8335815AC}" type="datetime1">
              <a:rPr lang="nb-NO" smtClean="0"/>
              <a:t>08.03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B91FCA3-AAB1-4942-A403-EB01037198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0F52D164-B8A5-4C80-8608-6FCB80F2E4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42886FD8-E3F1-4AF6-B1B3-56C5C0F27DF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00099" y="2413000"/>
            <a:ext cx="5097462" cy="3649664"/>
          </a:xfrm>
          <a:prstGeom prst="rect">
            <a:avLst/>
          </a:prstGeom>
          <a:solidFill>
            <a:schemeClr val="lt2"/>
          </a:solid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bilde 3">
            <a:extLst>
              <a:ext uri="{FF2B5EF4-FFF2-40B4-BE49-F238E27FC236}">
                <a16:creationId xmlns:a16="http://schemas.microsoft.com/office/drawing/2014/main" id="{19D6546F-BDA3-480D-81D5-6D1B8A13EFD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94438" y="2413000"/>
            <a:ext cx="5097462" cy="3649664"/>
          </a:xfrm>
          <a:prstGeom prst="rect">
            <a:avLst/>
          </a:prstGeom>
          <a:solidFill>
            <a:schemeClr val="lt2"/>
          </a:solid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8" name="Plassholder for tekst 2">
            <a:extLst>
              <a:ext uri="{FF2B5EF4-FFF2-40B4-BE49-F238E27FC236}">
                <a16:creationId xmlns:a16="http://schemas.microsoft.com/office/drawing/2014/main" id="{331544C7-6E4D-4FCE-B743-A772C08B1F9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56129" y="2413000"/>
            <a:ext cx="107722" cy="3649664"/>
          </a:xfrm>
        </p:spPr>
        <p:txBody>
          <a:bodyPr vert="vert">
            <a:spAutoFit/>
          </a:bodyPr>
          <a:lstStyle>
            <a:lvl1pPr marL="0" indent="0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</p:spTree>
    <p:extLst>
      <p:ext uri="{BB962C8B-B14F-4D97-AF65-F5344CB8AC3E}">
        <p14:creationId xmlns:p14="http://schemas.microsoft.com/office/powerpoint/2010/main" val="428562638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015AA92-CFF3-4A68-B2C4-B3E6548DB7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96925" y="2387600"/>
            <a:ext cx="5097462" cy="73866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08B1DF3D-C6BE-4D4E-957F-C6DEF92025D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91264" y="2387600"/>
            <a:ext cx="5097462" cy="73866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0CD12513-0937-438B-92B2-80ABB131DF2B}" type="datetime1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767CD8C-E6E1-47F7-A9B5-467CDD16F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864037"/>
            <a:ext cx="8763000" cy="1169551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1" name="Plassholder for innhold 2">
            <a:extLst>
              <a:ext uri="{FF2B5EF4-FFF2-40B4-BE49-F238E27FC236}">
                <a16:creationId xmlns:a16="http://schemas.microsoft.com/office/drawing/2014/main" id="{D1A5C7BA-CCD2-40AB-95E9-773DE7FB605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96925" y="3327400"/>
            <a:ext cx="5097462" cy="2735264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A274A5EE-0306-47C8-95FA-9176D50FAB41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91264" y="3327400"/>
            <a:ext cx="5097462" cy="2735264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9742571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2F26BDD0-8444-406F-A543-4E312E51B5A4}" type="datetime1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767CD8C-E6E1-47F7-A9B5-467CDD16F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864037"/>
            <a:ext cx="5097462" cy="1169551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3" name="Plassholder for bilde 3">
            <a:extLst>
              <a:ext uri="{FF2B5EF4-FFF2-40B4-BE49-F238E27FC236}">
                <a16:creationId xmlns:a16="http://schemas.microsoft.com/office/drawing/2014/main" id="{B5A1E56D-AE99-4789-B24D-61210A3F24F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97614" y="976312"/>
            <a:ext cx="5894385" cy="5086351"/>
          </a:xfrm>
          <a:prstGeom prst="rect">
            <a:avLst/>
          </a:prstGeom>
          <a:solidFill>
            <a:schemeClr val="lt2"/>
          </a:solid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2F76D602-75E9-486D-9F94-3D7511C622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925" y="2413000"/>
            <a:ext cx="5097462" cy="3649664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2">
            <a:extLst>
              <a:ext uri="{FF2B5EF4-FFF2-40B4-BE49-F238E27FC236}">
                <a16:creationId xmlns:a16="http://schemas.microsoft.com/office/drawing/2014/main" id="{55A6CEE8-9BD3-4F79-BFFB-FCCC2C74836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24843" y="1412460"/>
            <a:ext cx="107722" cy="4543926"/>
          </a:xfrm>
        </p:spPr>
        <p:txBody>
          <a:bodyPr vert="vert">
            <a:spAutoFit/>
          </a:bodyPr>
          <a:lstStyle>
            <a:lvl1pPr marL="0" indent="0" algn="r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</p:spTree>
    <p:extLst>
      <p:ext uri="{BB962C8B-B14F-4D97-AF65-F5344CB8AC3E}">
        <p14:creationId xmlns:p14="http://schemas.microsoft.com/office/powerpoint/2010/main" val="359594429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F0D09085-7D4B-4E10-9C99-B8BD245DBFE6}" type="datetime1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767CD8C-E6E1-47F7-A9B5-467CDD16F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4" y="864037"/>
            <a:ext cx="6931025" cy="1169551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3" name="Plassholder for bilde 3">
            <a:extLst>
              <a:ext uri="{FF2B5EF4-FFF2-40B4-BE49-F238E27FC236}">
                <a16:creationId xmlns:a16="http://schemas.microsoft.com/office/drawing/2014/main" id="{B5A1E56D-AE99-4789-B24D-61210A3F24F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23239" y="976312"/>
            <a:ext cx="4068762" cy="5086351"/>
          </a:xfrm>
          <a:prstGeom prst="rect">
            <a:avLst/>
          </a:prstGeom>
          <a:solidFill>
            <a:schemeClr val="lt2"/>
          </a:solid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2F76D602-75E9-486D-9F94-3D7511C622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924" y="2413000"/>
            <a:ext cx="6931025" cy="3649664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2">
            <a:extLst>
              <a:ext uri="{FF2B5EF4-FFF2-40B4-BE49-F238E27FC236}">
                <a16:creationId xmlns:a16="http://schemas.microsoft.com/office/drawing/2014/main" id="{9BE31FBC-3E87-4906-8AF2-8C42F3A72D5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24843" y="1412460"/>
            <a:ext cx="107722" cy="4543926"/>
          </a:xfrm>
        </p:spPr>
        <p:txBody>
          <a:bodyPr vert="vert">
            <a:spAutoFit/>
          </a:bodyPr>
          <a:lstStyle>
            <a:lvl1pPr marL="0" indent="0" algn="r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</p:spTree>
    <p:extLst>
      <p:ext uri="{BB962C8B-B14F-4D97-AF65-F5344CB8AC3E}">
        <p14:creationId xmlns:p14="http://schemas.microsoft.com/office/powerpoint/2010/main" val="216420069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bild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50532F98-8284-484E-8BF4-A5270B91B9B5}" type="datetime1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767CD8C-E6E1-47F7-A9B5-467CDD16F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976313"/>
            <a:ext cx="3267076" cy="1057275"/>
          </a:xfrm>
        </p:spPr>
        <p:txBody>
          <a:bodyPr lIns="0" tIns="0" rIns="0" bIns="0"/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Plassholder for bilde 3">
            <a:extLst>
              <a:ext uri="{FF2B5EF4-FFF2-40B4-BE49-F238E27FC236}">
                <a16:creationId xmlns:a16="http://schemas.microsoft.com/office/drawing/2014/main" id="{B5A1E56D-AE99-4789-B24D-61210A3F24F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59288" y="976312"/>
            <a:ext cx="7732712" cy="5086351"/>
          </a:xfrm>
          <a:prstGeom prst="rect">
            <a:avLst/>
          </a:prstGeom>
          <a:solidFill>
            <a:schemeClr val="lt2"/>
          </a:solid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2F76D602-75E9-486D-9F94-3D7511C622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925" y="2413000"/>
            <a:ext cx="3267076" cy="3649664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2">
            <a:extLst>
              <a:ext uri="{FF2B5EF4-FFF2-40B4-BE49-F238E27FC236}">
                <a16:creationId xmlns:a16="http://schemas.microsoft.com/office/drawing/2014/main" id="{0B37DE26-D1C3-4958-AAD0-4B083C57A7A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24843" y="1412460"/>
            <a:ext cx="107722" cy="4543926"/>
          </a:xfrm>
        </p:spPr>
        <p:txBody>
          <a:bodyPr vert="vert">
            <a:spAutoFit/>
          </a:bodyPr>
          <a:lstStyle>
            <a:lvl1pPr marL="0" indent="0" algn="r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</p:spTree>
    <p:extLst>
      <p:ext uri="{BB962C8B-B14F-4D97-AF65-F5344CB8AC3E}">
        <p14:creationId xmlns:p14="http://schemas.microsoft.com/office/powerpoint/2010/main" val="293669439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015AA92-CFF3-4A68-B2C4-B3E6548DB7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96925" y="2387600"/>
            <a:ext cx="5097462" cy="73866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8910D29F-BF1C-499C-865B-AE569007ACDD}" type="datetime1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767CD8C-E6E1-47F7-A9B5-467CDD16F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864037"/>
            <a:ext cx="5097462" cy="1169551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1" name="Plassholder for innhold 2">
            <a:extLst>
              <a:ext uri="{FF2B5EF4-FFF2-40B4-BE49-F238E27FC236}">
                <a16:creationId xmlns:a16="http://schemas.microsoft.com/office/drawing/2014/main" id="{D1A5C7BA-CCD2-40AB-95E9-773DE7FB605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96925" y="3327400"/>
            <a:ext cx="5097462" cy="2735264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3" name="Plassholder for bilde 3">
            <a:extLst>
              <a:ext uri="{FF2B5EF4-FFF2-40B4-BE49-F238E27FC236}">
                <a16:creationId xmlns:a16="http://schemas.microsoft.com/office/drawing/2014/main" id="{B5A1E56D-AE99-4789-B24D-61210A3F24F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97614" y="976312"/>
            <a:ext cx="5894385" cy="5086351"/>
          </a:xfrm>
          <a:prstGeom prst="rect">
            <a:avLst/>
          </a:prstGeom>
          <a:solidFill>
            <a:schemeClr val="lt2"/>
          </a:solid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12" name="Plassholder for tekst 2">
            <a:extLst>
              <a:ext uri="{FF2B5EF4-FFF2-40B4-BE49-F238E27FC236}">
                <a16:creationId xmlns:a16="http://schemas.microsoft.com/office/drawing/2014/main" id="{FF8DB92C-8780-4508-8B81-50F70170913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24843" y="1412460"/>
            <a:ext cx="107722" cy="4543926"/>
          </a:xfrm>
        </p:spPr>
        <p:txBody>
          <a:bodyPr vert="vert">
            <a:spAutoFit/>
          </a:bodyPr>
          <a:lstStyle>
            <a:lvl1pPr marL="0" indent="0" algn="r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</p:spTree>
    <p:extLst>
      <p:ext uri="{BB962C8B-B14F-4D97-AF65-F5344CB8AC3E}">
        <p14:creationId xmlns:p14="http://schemas.microsoft.com/office/powerpoint/2010/main" val="262506694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E0B51F30-4B04-4CED-95D8-06D381065EE3}" type="datetime1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767CD8C-E6E1-47F7-A9B5-467CDD16F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864037"/>
            <a:ext cx="8763000" cy="584775"/>
          </a:xfrm>
        </p:spPr>
        <p:txBody>
          <a:bodyPr lIns="0" tIns="0" rIns="0" bIns="0" anchor="t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4" name="Plassholder for bilde 3">
            <a:extLst>
              <a:ext uri="{FF2B5EF4-FFF2-40B4-BE49-F238E27FC236}">
                <a16:creationId xmlns:a16="http://schemas.microsoft.com/office/drawing/2014/main" id="{13A60648-8934-4097-B0A8-3EAAC644EE1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96925" y="1931822"/>
            <a:ext cx="10594975" cy="4130842"/>
          </a:xfrm>
          <a:prstGeom prst="rect">
            <a:avLst/>
          </a:prstGeom>
          <a:solidFill>
            <a:schemeClr val="lt2"/>
          </a:solid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D1728619-46BA-4E25-9B80-6EE5C107EB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56129" y="1931821"/>
            <a:ext cx="107722" cy="4130842"/>
          </a:xfrm>
        </p:spPr>
        <p:txBody>
          <a:bodyPr vert="vert">
            <a:spAutoFit/>
          </a:bodyPr>
          <a:lstStyle>
            <a:lvl1pPr marL="0" indent="0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</p:spTree>
    <p:extLst>
      <p:ext uri="{BB962C8B-B14F-4D97-AF65-F5344CB8AC3E}">
        <p14:creationId xmlns:p14="http://schemas.microsoft.com/office/powerpoint/2010/main" val="33737656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side med tittel og plassholder for ikon">
    <p:bg>
      <p:bgPr>
        <a:solidFill>
          <a:srgbClr val="BFCED6">
            <a:alpha val="6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91BB3812-6B92-41AA-B031-D8E21DD4438F}"/>
              </a:ext>
            </a:extLst>
          </p:cNvPr>
          <p:cNvSpPr/>
          <p:nvPr userDrawn="1"/>
        </p:nvSpPr>
        <p:spPr>
          <a:xfrm>
            <a:off x="7727950" y="0"/>
            <a:ext cx="4464050" cy="6858000"/>
          </a:xfrm>
          <a:prstGeom prst="rect">
            <a:avLst/>
          </a:prstGeom>
          <a:solidFill>
            <a:schemeClr val="lt1"/>
          </a:solidFill>
          <a:ln w="12700" cap="flat" cmpd="sng" algn="ctr">
            <a:solidFill>
              <a:schemeClr val="accent1">
                <a:lumMod val="100000"/>
                <a:shade val="50000"/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711D1A4-C7C4-41B6-A20A-E04C3D11A5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0996CB9A-6DD9-4653-8D14-4D1DE607FA66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55B6032-7D05-4D83-8FF2-DBCDFB87B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49314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81243BF-36D7-45B2-9C81-EB43C04D2E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49314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6B81A321-9273-48AB-9354-A60166B59A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23238" y="2222499"/>
            <a:ext cx="3265488" cy="3840163"/>
          </a:xfrm>
        </p:spPr>
        <p:txBody>
          <a:bodyPr wrap="square" lIns="0" tIns="0" rIns="0" bIns="0" anchor="t">
            <a:noAutofit/>
          </a:bodyPr>
          <a:lstStyle>
            <a:lvl1pPr algn="l">
              <a:defRPr sz="3800">
                <a:solidFill>
                  <a:schemeClr val="dk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Plassholder for innhold 12">
            <a:extLst>
              <a:ext uri="{FF2B5EF4-FFF2-40B4-BE49-F238E27FC236}">
                <a16:creationId xmlns:a16="http://schemas.microsoft.com/office/drawing/2014/main" id="{A11D1591-3D05-48F9-81D2-4C1C533E0F4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763898" y="1521190"/>
            <a:ext cx="4132078" cy="350961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/>
              <a:t>Klikk bildeknappen for å sette inn ikon her</a:t>
            </a:r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B722D91D-A69A-7F4F-B7A5-57E3F7AA62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37139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side med bilde og tittel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711D1A4-C7C4-41B6-A20A-E04C3D11A5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6CB06730-514D-447A-AC1B-D56E4CAC2848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55B6032-7D05-4D83-8FF2-DBCDFB87B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49314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81243BF-36D7-45B2-9C81-EB43C04D2E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49314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6B81A321-9273-48AB-9354-A60166B59A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23238" y="2222499"/>
            <a:ext cx="3265488" cy="3840163"/>
          </a:xfrm>
        </p:spPr>
        <p:txBody>
          <a:bodyPr wrap="square" lIns="0" tIns="0" rIns="0" bIns="0" anchor="t">
            <a:noAutofit/>
          </a:bodyPr>
          <a:lstStyle>
            <a:lvl1pPr algn="l">
              <a:defRPr sz="3800">
                <a:solidFill>
                  <a:schemeClr val="dk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bilde 2">
            <a:extLst>
              <a:ext uri="{FF2B5EF4-FFF2-40B4-BE49-F238E27FC236}">
                <a16:creationId xmlns:a16="http://schemas.microsoft.com/office/drawing/2014/main" id="{1819DB7C-4281-4A4C-92FC-574B03EC3C9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972122"/>
            <a:ext cx="7727950" cy="5109651"/>
          </a:xfrm>
          <a:prstGeom prst="rect">
            <a:avLst/>
          </a:prstGeom>
          <a:solidFill>
            <a:schemeClr val="lt2"/>
          </a:solid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2">
            <a:extLst>
              <a:ext uri="{FF2B5EF4-FFF2-40B4-BE49-F238E27FC236}">
                <a16:creationId xmlns:a16="http://schemas.microsoft.com/office/drawing/2014/main" id="{59AE6E74-257D-40FA-ACE0-1C3E8F4E5B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16200000">
            <a:off x="2971029" y="3643868"/>
            <a:ext cx="107722" cy="5109651"/>
          </a:xfrm>
        </p:spPr>
        <p:txBody>
          <a:bodyPr vert="vert">
            <a:spAutoFit/>
          </a:bodyPr>
          <a:lstStyle>
            <a:lvl1pPr marL="0" indent="0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  <p:pic>
        <p:nvPicPr>
          <p:cNvPr id="12" name="Grafikk 11">
            <a:extLst>
              <a:ext uri="{FF2B5EF4-FFF2-40B4-BE49-F238E27FC236}">
                <a16:creationId xmlns:a16="http://schemas.microsoft.com/office/drawing/2014/main" id="{20A73530-78F3-E246-8269-0BF01BB426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6362726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side med kun titte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2EA38832-0BFF-B141-8DEA-3ABA4C0DEF7B}"/>
              </a:ext>
            </a:extLst>
          </p:cNvPr>
          <p:cNvSpPr/>
          <p:nvPr userDrawn="1"/>
        </p:nvSpPr>
        <p:spPr>
          <a:xfrm>
            <a:off x="7734928" y="-11723"/>
            <a:ext cx="4467600" cy="6876000"/>
          </a:xfrm>
          <a:prstGeom prst="rect">
            <a:avLst/>
          </a:prstGeom>
          <a:solidFill>
            <a:schemeClr val="lt1"/>
          </a:solidFill>
          <a:ln w="12700" cap="flat" cmpd="sng" algn="ctr">
            <a:solidFill>
              <a:schemeClr val="accent1">
                <a:lumMod val="100000"/>
                <a:shade val="50000"/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711D1A4-C7C4-41B6-A20A-E04C3D11A5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F0229358-32AD-4AE8-84CE-030CC25296FA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55B6032-7D05-4D83-8FF2-DBCDFB87B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49314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81243BF-36D7-45B2-9C81-EB43C04D2E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49314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6B81A321-9273-48AB-9354-A60166B59A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6925" y="2222499"/>
            <a:ext cx="5099050" cy="3840163"/>
          </a:xfrm>
        </p:spPr>
        <p:txBody>
          <a:bodyPr wrap="square" lIns="0" tIns="0" rIns="0" bIns="0" anchor="t">
            <a:noAutofit/>
          </a:bodyPr>
          <a:lstStyle>
            <a:lvl1pPr algn="l">
              <a:defRPr sz="380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7B98F3BF-61B5-204E-A801-FADFF39059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4590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08.03.2023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4250994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side med dekor blå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711D1A4-C7C4-41B6-A20A-E04C3D11A5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09AD0F42-88F7-4426-8B24-A2C24B047AD9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55B6032-7D05-4D83-8FF2-DBCDFB87B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49314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81243BF-36D7-45B2-9C81-EB43C04D2E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49314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6B81A321-9273-48AB-9354-A60166B59A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23238" y="2222499"/>
            <a:ext cx="3265488" cy="3840163"/>
          </a:xfrm>
        </p:spPr>
        <p:txBody>
          <a:bodyPr wrap="square" lIns="0" tIns="0" rIns="0" bIns="0" anchor="t">
            <a:noAutofit/>
          </a:bodyPr>
          <a:lstStyle>
            <a:lvl1pPr algn="l">
              <a:defRPr sz="3800">
                <a:solidFill>
                  <a:schemeClr val="dk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8" descr="Et bilde som inneholder tekst&#10;&#10;Automatisk generert beskrivelse">
            <a:extLst>
              <a:ext uri="{FF2B5EF4-FFF2-40B4-BE49-F238E27FC236}">
                <a16:creationId xmlns:a16="http://schemas.microsoft.com/office/drawing/2014/main" id="{1CF77BC4-34AA-4675-BE55-234304E21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732776" cy="6858000"/>
          </a:xfrm>
          <a:prstGeom prst="rect">
            <a:avLst/>
          </a:prstGeom>
        </p:spPr>
      </p:pic>
      <p:pic>
        <p:nvPicPr>
          <p:cNvPr id="10" name="Grafikk 9">
            <a:extLst>
              <a:ext uri="{FF2B5EF4-FFF2-40B4-BE49-F238E27FC236}">
                <a16:creationId xmlns:a16="http://schemas.microsoft.com/office/drawing/2014/main" id="{83688B5B-08F8-FA49-95AB-92CF82DF88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62855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side med dekor grå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711D1A4-C7C4-41B6-A20A-E04C3D11A5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9583505E-4570-4F62-ADB7-70756F9DF1AC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55B6032-7D05-4D83-8FF2-DBCDFB87B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49314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81243BF-36D7-45B2-9C81-EB43C04D2E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49314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6B81A321-9273-48AB-9354-A60166B59A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23238" y="2222499"/>
            <a:ext cx="3265488" cy="3840163"/>
          </a:xfrm>
        </p:spPr>
        <p:txBody>
          <a:bodyPr wrap="square" lIns="0" tIns="0" rIns="0" bIns="0" anchor="t">
            <a:noAutofit/>
          </a:bodyPr>
          <a:lstStyle>
            <a:lvl1pPr algn="l">
              <a:defRPr sz="3800">
                <a:solidFill>
                  <a:schemeClr val="dk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BB590AD2-59FE-4C3E-BC34-FC6D87F3F5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732776" cy="6858000"/>
          </a:xfrm>
          <a:prstGeom prst="rect">
            <a:avLst/>
          </a:prstGeom>
        </p:spPr>
      </p:pic>
      <p:pic>
        <p:nvPicPr>
          <p:cNvPr id="10" name="Grafikk 9">
            <a:extLst>
              <a:ext uri="{FF2B5EF4-FFF2-40B4-BE49-F238E27FC236}">
                <a16:creationId xmlns:a16="http://schemas.microsoft.com/office/drawing/2014/main" id="{C7B1B64B-7C38-FD4D-B5D1-1522D3F3AE2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2257956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side med dekor gul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711D1A4-C7C4-41B6-A20A-E04C3D11A5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538E33CC-B1F4-4813-A999-EED8B2EAC101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55B6032-7D05-4D83-8FF2-DBCDFB87B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49314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81243BF-36D7-45B2-9C81-EB43C04D2E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49314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6B81A321-9273-48AB-9354-A60166B59A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23238" y="2222499"/>
            <a:ext cx="3265488" cy="3840163"/>
          </a:xfrm>
        </p:spPr>
        <p:txBody>
          <a:bodyPr wrap="square" lIns="0" tIns="0" rIns="0" bIns="0" anchor="t">
            <a:noAutofit/>
          </a:bodyPr>
          <a:lstStyle>
            <a:lvl1pPr algn="l">
              <a:defRPr sz="3800">
                <a:solidFill>
                  <a:schemeClr val="dk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86CF46EF-E081-41C3-825D-4BA7493F57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732776" cy="6858000"/>
          </a:xfrm>
          <a:prstGeom prst="rect">
            <a:avLst/>
          </a:prstGeom>
        </p:spPr>
      </p:pic>
      <p:pic>
        <p:nvPicPr>
          <p:cNvPr id="10" name="Grafikk 9">
            <a:extLst>
              <a:ext uri="{FF2B5EF4-FFF2-40B4-BE49-F238E27FC236}">
                <a16:creationId xmlns:a16="http://schemas.microsoft.com/office/drawing/2014/main" id="{E76823CC-DB1B-4D46-A8C6-681C444DE9A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235930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side med dekor oransj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711D1A4-C7C4-41B6-A20A-E04C3D11A5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A51FA0B6-9C87-4C98-ADA4-2C6291B734DD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55B6032-7D05-4D83-8FF2-DBCDFB87B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49314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81243BF-36D7-45B2-9C81-EB43C04D2E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49314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6B81A321-9273-48AB-9354-A60166B59A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23238" y="2222499"/>
            <a:ext cx="3265488" cy="3840163"/>
          </a:xfrm>
        </p:spPr>
        <p:txBody>
          <a:bodyPr wrap="square" lIns="0" tIns="0" rIns="0" bIns="0" anchor="t">
            <a:noAutofit/>
          </a:bodyPr>
          <a:lstStyle>
            <a:lvl1pPr algn="l">
              <a:defRPr sz="3800">
                <a:solidFill>
                  <a:schemeClr val="dk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41B1D584-DC2C-4F86-AE3C-330E146FFC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732776" cy="6858000"/>
          </a:xfrm>
          <a:prstGeom prst="rect">
            <a:avLst/>
          </a:prstGeom>
        </p:spPr>
      </p:pic>
      <p:pic>
        <p:nvPicPr>
          <p:cNvPr id="10" name="Grafikk 9">
            <a:extLst>
              <a:ext uri="{FF2B5EF4-FFF2-40B4-BE49-F238E27FC236}">
                <a16:creationId xmlns:a16="http://schemas.microsoft.com/office/drawing/2014/main" id="{571B3C1C-3A60-374F-B8A7-9FFE601F6D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209579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side med tekst, bilde og farget bakgru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3008F4AD-A83C-48A6-BA1C-97DB5AB31047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7745756" cy="6873389"/>
          </a:xfrm>
          <a:prstGeom prst="rect">
            <a:avLst/>
          </a:prstGeom>
          <a:solidFill>
            <a:srgbClr val="ADDFB3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7F1EF2F0-C0B3-4DDF-B074-ED4EBB865B32}" type="datetime1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767CD8C-E6E1-47F7-A9B5-467CDD16F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976313"/>
            <a:ext cx="3267076" cy="1057275"/>
          </a:xfrm>
        </p:spPr>
        <p:txBody>
          <a:bodyPr lIns="0" tIns="0" rIns="0" bIns="0"/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Plassholder for bilde 3">
            <a:extLst>
              <a:ext uri="{FF2B5EF4-FFF2-40B4-BE49-F238E27FC236}">
                <a16:creationId xmlns:a16="http://schemas.microsoft.com/office/drawing/2014/main" id="{B5A1E56D-AE99-4789-B24D-61210A3F24F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59288" y="976312"/>
            <a:ext cx="6932612" cy="5086351"/>
          </a:xfrm>
          <a:prstGeom prst="rect">
            <a:avLst/>
          </a:prstGeom>
          <a:solidFill>
            <a:schemeClr val="lt2"/>
          </a:solid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2F76D602-75E9-486D-9F94-3D7511C622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925" y="2413000"/>
            <a:ext cx="3267076" cy="3649664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4" name="Plassholder for tekst 2">
            <a:extLst>
              <a:ext uri="{FF2B5EF4-FFF2-40B4-BE49-F238E27FC236}">
                <a16:creationId xmlns:a16="http://schemas.microsoft.com/office/drawing/2014/main" id="{FD0E5513-0F25-4043-A538-F261F2E8141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56129" y="976312"/>
            <a:ext cx="107722" cy="5086351"/>
          </a:xfrm>
        </p:spPr>
        <p:txBody>
          <a:bodyPr vert="vert">
            <a:spAutoFit/>
          </a:bodyPr>
          <a:lstStyle>
            <a:lvl1pPr marL="0" indent="0" algn="r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</p:spTree>
    <p:extLst>
      <p:ext uri="{BB962C8B-B14F-4D97-AF65-F5344CB8AC3E}">
        <p14:creationId xmlns:p14="http://schemas.microsoft.com/office/powerpoint/2010/main" val="404762215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side med tekst, bilde og farget bakgrunn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3008F4AD-A83C-48A6-BA1C-97DB5AB31047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7745756" cy="6873389"/>
          </a:xfrm>
          <a:prstGeom prst="rect">
            <a:avLst/>
          </a:prstGeom>
          <a:solidFill>
            <a:srgbClr val="FFC845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84F814F8-3CDD-44DD-99FC-CAF34234AF00}" type="datetime1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767CD8C-E6E1-47F7-A9B5-467CDD16F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976313"/>
            <a:ext cx="3267076" cy="1057275"/>
          </a:xfrm>
        </p:spPr>
        <p:txBody>
          <a:bodyPr lIns="0" tIns="0" rIns="0" bIns="0"/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Plassholder for bilde 3">
            <a:extLst>
              <a:ext uri="{FF2B5EF4-FFF2-40B4-BE49-F238E27FC236}">
                <a16:creationId xmlns:a16="http://schemas.microsoft.com/office/drawing/2014/main" id="{B5A1E56D-AE99-4789-B24D-61210A3F24F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59288" y="976312"/>
            <a:ext cx="6932612" cy="5086351"/>
          </a:xfrm>
          <a:prstGeom prst="rect">
            <a:avLst/>
          </a:prstGeom>
          <a:solidFill>
            <a:schemeClr val="lt2"/>
          </a:solid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2F76D602-75E9-486D-9F94-3D7511C622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925" y="2413000"/>
            <a:ext cx="3267076" cy="3649664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4" name="Plassholder for tekst 2">
            <a:extLst>
              <a:ext uri="{FF2B5EF4-FFF2-40B4-BE49-F238E27FC236}">
                <a16:creationId xmlns:a16="http://schemas.microsoft.com/office/drawing/2014/main" id="{2C4E6FEF-2A19-41B8-8242-4CA6ED61443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56129" y="976312"/>
            <a:ext cx="107722" cy="5086351"/>
          </a:xfrm>
        </p:spPr>
        <p:txBody>
          <a:bodyPr vert="vert">
            <a:spAutoFit/>
          </a:bodyPr>
          <a:lstStyle>
            <a:lvl1pPr marL="0" indent="0" algn="r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</p:spTree>
    <p:extLst>
      <p:ext uri="{BB962C8B-B14F-4D97-AF65-F5344CB8AC3E}">
        <p14:creationId xmlns:p14="http://schemas.microsoft.com/office/powerpoint/2010/main" val="753072600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side med tekst, bilde og farget bakgrunn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3008F4AD-A83C-48A6-BA1C-97DB5AB31047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7745756" cy="6873389"/>
          </a:xfrm>
          <a:prstGeom prst="rect">
            <a:avLst/>
          </a:prstGeom>
          <a:solidFill>
            <a:srgbClr val="FF671F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01F81B52-8C46-4FD3-80AA-F8D04D565F97}" type="datetime1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767CD8C-E6E1-47F7-A9B5-467CDD16F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976313"/>
            <a:ext cx="3267076" cy="1057275"/>
          </a:xfrm>
        </p:spPr>
        <p:txBody>
          <a:bodyPr lIns="0" tIns="0" rIns="0" bIns="0"/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Plassholder for bilde 3">
            <a:extLst>
              <a:ext uri="{FF2B5EF4-FFF2-40B4-BE49-F238E27FC236}">
                <a16:creationId xmlns:a16="http://schemas.microsoft.com/office/drawing/2014/main" id="{B5A1E56D-AE99-4789-B24D-61210A3F24F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59288" y="976312"/>
            <a:ext cx="6932612" cy="5086351"/>
          </a:xfrm>
          <a:prstGeom prst="rect">
            <a:avLst/>
          </a:prstGeom>
          <a:solidFill>
            <a:schemeClr val="lt2"/>
          </a:solid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2F76D602-75E9-486D-9F94-3D7511C622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925" y="2413000"/>
            <a:ext cx="3267076" cy="3649664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4" name="Plassholder for tekst 2">
            <a:extLst>
              <a:ext uri="{FF2B5EF4-FFF2-40B4-BE49-F238E27FC236}">
                <a16:creationId xmlns:a16="http://schemas.microsoft.com/office/drawing/2014/main" id="{9B93BCF4-D4C9-491C-A218-228C67A6BA0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56129" y="976312"/>
            <a:ext cx="107722" cy="5086351"/>
          </a:xfrm>
        </p:spPr>
        <p:txBody>
          <a:bodyPr vert="vert">
            <a:spAutoFit/>
          </a:bodyPr>
          <a:lstStyle>
            <a:lvl1pPr marL="0" indent="0" algn="r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</p:spTree>
    <p:extLst>
      <p:ext uri="{BB962C8B-B14F-4D97-AF65-F5344CB8AC3E}">
        <p14:creationId xmlns:p14="http://schemas.microsoft.com/office/powerpoint/2010/main" val="751989036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si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bilde 12">
            <a:extLst>
              <a:ext uri="{FF2B5EF4-FFF2-40B4-BE49-F238E27FC236}">
                <a16:creationId xmlns:a16="http://schemas.microsoft.com/office/drawing/2014/main" id="{9E8A3748-D9BC-4588-9124-CBF265D47AB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400" y="3606932"/>
            <a:ext cx="3657600" cy="2869415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0D477F9B-9F58-4B5C-835B-EEB557C86025}"/>
              </a:ext>
            </a:extLst>
          </p:cNvPr>
          <p:cNvSpPr>
            <a:spLocks/>
          </p:cNvSpPr>
          <p:nvPr userDrawn="1"/>
        </p:nvSpPr>
        <p:spPr>
          <a:xfrm>
            <a:off x="406400" y="0"/>
            <a:ext cx="3657600" cy="3421796"/>
          </a:xfrm>
          <a:prstGeom prst="rect">
            <a:avLst/>
          </a:prstGeom>
          <a:solidFill>
            <a:srgbClr val="ADDFB3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E0AB172-1CA3-41A2-A981-1FAE41E0AE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6925" y="976313"/>
            <a:ext cx="2905563" cy="2080894"/>
          </a:xfrm>
        </p:spPr>
        <p:txBody>
          <a:bodyPr wrap="square" lIns="0" tIns="0" rIns="0" bIns="0" anchor="b">
            <a:noAutofit/>
          </a:bodyPr>
          <a:lstStyle>
            <a:lvl1pPr algn="l">
              <a:defRPr sz="3000">
                <a:solidFill>
                  <a:schemeClr val="dk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FDA5D0A0-3330-4C0A-B64F-5D4900BE51BD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5" name="Plassholder for bilde 9">
            <a:extLst>
              <a:ext uri="{FF2B5EF4-FFF2-40B4-BE49-F238E27FC236}">
                <a16:creationId xmlns:a16="http://schemas.microsoft.com/office/drawing/2014/main" id="{84BB0569-EDCB-4706-8CA5-8F3806870E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46587" y="976312"/>
            <a:ext cx="3701262" cy="5500035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16" name="Plassholder for bilde 10">
            <a:extLst>
              <a:ext uri="{FF2B5EF4-FFF2-40B4-BE49-F238E27FC236}">
                <a16:creationId xmlns:a16="http://schemas.microsoft.com/office/drawing/2014/main" id="{54300F52-CFB3-452D-903D-15806945892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15091" y="976312"/>
            <a:ext cx="3670509" cy="3056119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17" name="Plassholder for bilde 13">
            <a:extLst>
              <a:ext uri="{FF2B5EF4-FFF2-40B4-BE49-F238E27FC236}">
                <a16:creationId xmlns:a16="http://schemas.microsoft.com/office/drawing/2014/main" id="{B7BD9287-7C8F-4BDF-BF95-F9EDB343C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15091" y="4215084"/>
            <a:ext cx="3665747" cy="2261263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14" name="Plassholder for tekst 2">
            <a:extLst>
              <a:ext uri="{FF2B5EF4-FFF2-40B4-BE49-F238E27FC236}">
                <a16:creationId xmlns:a16="http://schemas.microsoft.com/office/drawing/2014/main" id="{7F012555-5605-4B3C-A7BE-0D84B36DD3B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840358" y="976312"/>
            <a:ext cx="107722" cy="5500035"/>
          </a:xfrm>
        </p:spPr>
        <p:txBody>
          <a:bodyPr vert="vert" wrap="square">
            <a:spAutoFit/>
          </a:bodyPr>
          <a:lstStyle>
            <a:lvl1pPr marL="0" indent="0" algn="r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  <p:pic>
        <p:nvPicPr>
          <p:cNvPr id="19" name="Grafikk 18">
            <a:extLst>
              <a:ext uri="{FF2B5EF4-FFF2-40B4-BE49-F238E27FC236}">
                <a16:creationId xmlns:a16="http://schemas.microsoft.com/office/drawing/2014/main" id="{DDCA7E7D-AD05-FD42-BCB7-23DB825A31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7338946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side med tekst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bilde 12">
            <a:extLst>
              <a:ext uri="{FF2B5EF4-FFF2-40B4-BE49-F238E27FC236}">
                <a16:creationId xmlns:a16="http://schemas.microsoft.com/office/drawing/2014/main" id="{9E8A3748-D9BC-4588-9124-CBF265D47AB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400" y="3606932"/>
            <a:ext cx="3657600" cy="2869415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0D477F9B-9F58-4B5C-835B-EEB557C86025}"/>
              </a:ext>
            </a:extLst>
          </p:cNvPr>
          <p:cNvSpPr>
            <a:spLocks/>
          </p:cNvSpPr>
          <p:nvPr userDrawn="1"/>
        </p:nvSpPr>
        <p:spPr>
          <a:xfrm>
            <a:off x="406400" y="0"/>
            <a:ext cx="3657600" cy="34217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E0AB172-1CA3-41A2-A981-1FAE41E0AE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6925" y="976313"/>
            <a:ext cx="2905563" cy="2080894"/>
          </a:xfrm>
        </p:spPr>
        <p:txBody>
          <a:bodyPr wrap="square" lIns="0" tIns="0" rIns="0" bIns="0" anchor="b">
            <a:noAutofit/>
          </a:bodyPr>
          <a:lstStyle>
            <a:lvl1pPr algn="l">
              <a:defRPr sz="300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CC385112-3A4D-4279-8CF6-408D59E1AB50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Plassholder for bilde 9">
            <a:extLst>
              <a:ext uri="{FF2B5EF4-FFF2-40B4-BE49-F238E27FC236}">
                <a16:creationId xmlns:a16="http://schemas.microsoft.com/office/drawing/2014/main" id="{B34D56FD-DF40-4637-BDBF-FC95E4ED6D8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46587" y="976312"/>
            <a:ext cx="3701262" cy="5500035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11" name="Plassholder for bilde 10">
            <a:extLst>
              <a:ext uri="{FF2B5EF4-FFF2-40B4-BE49-F238E27FC236}">
                <a16:creationId xmlns:a16="http://schemas.microsoft.com/office/drawing/2014/main" id="{2E917D5D-4BEE-49A6-8234-EED58A0D2F5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15091" y="976312"/>
            <a:ext cx="3670509" cy="3056119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14" name="Plassholder for bilde 13">
            <a:extLst>
              <a:ext uri="{FF2B5EF4-FFF2-40B4-BE49-F238E27FC236}">
                <a16:creationId xmlns:a16="http://schemas.microsoft.com/office/drawing/2014/main" id="{44A564FB-6BFF-44C9-A3F6-BAB13C57C27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15091" y="4215084"/>
            <a:ext cx="3665747" cy="2261263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16" name="Plassholder for tekst 2">
            <a:extLst>
              <a:ext uri="{FF2B5EF4-FFF2-40B4-BE49-F238E27FC236}">
                <a16:creationId xmlns:a16="http://schemas.microsoft.com/office/drawing/2014/main" id="{9D6CF72D-7AE9-41DC-9027-08F669A56B7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840358" y="976312"/>
            <a:ext cx="107722" cy="5500035"/>
          </a:xfrm>
        </p:spPr>
        <p:txBody>
          <a:bodyPr vert="vert" wrap="square">
            <a:spAutoFit/>
          </a:bodyPr>
          <a:lstStyle>
            <a:lvl1pPr marL="0" indent="0" algn="r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  <p:pic>
        <p:nvPicPr>
          <p:cNvPr id="17" name="Grafikk 16">
            <a:extLst>
              <a:ext uri="{FF2B5EF4-FFF2-40B4-BE49-F238E27FC236}">
                <a16:creationId xmlns:a16="http://schemas.microsoft.com/office/drawing/2014/main" id="{EF2B3289-D73E-9041-81C4-599835800B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8853395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ide med tekst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0D477F9B-9F58-4B5C-835B-EEB557C86025}"/>
              </a:ext>
            </a:extLst>
          </p:cNvPr>
          <p:cNvSpPr>
            <a:spLocks/>
          </p:cNvSpPr>
          <p:nvPr userDrawn="1"/>
        </p:nvSpPr>
        <p:spPr>
          <a:xfrm>
            <a:off x="8129816" y="3828502"/>
            <a:ext cx="3657600" cy="30294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3" name="Plassholder for bilde 12">
            <a:extLst>
              <a:ext uri="{FF2B5EF4-FFF2-40B4-BE49-F238E27FC236}">
                <a16:creationId xmlns:a16="http://schemas.microsoft.com/office/drawing/2014/main" id="{9E8A3748-D9BC-4588-9124-CBF265D47AB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400" y="976313"/>
            <a:ext cx="3671290" cy="5500034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BBE63069-959E-4D9D-BB1B-BE05AA3FDCEE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E0AB172-1CA3-41A2-A981-1FAE41E0AE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520341" y="4140200"/>
            <a:ext cx="2905563" cy="2386373"/>
          </a:xfrm>
        </p:spPr>
        <p:txBody>
          <a:bodyPr wrap="square" lIns="0" tIns="0" rIns="0" bIns="0" anchor="t">
            <a:noAutofit/>
          </a:bodyPr>
          <a:lstStyle>
            <a:lvl1pPr algn="l">
              <a:defRPr sz="300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5" name="Plassholder for bilde 9">
            <a:extLst>
              <a:ext uri="{FF2B5EF4-FFF2-40B4-BE49-F238E27FC236}">
                <a16:creationId xmlns:a16="http://schemas.microsoft.com/office/drawing/2014/main" id="{B6AF3DD8-E45D-4380-89B6-AF13DBE2E7A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246588" y="3828502"/>
            <a:ext cx="3697374" cy="2647845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11" name="Plassholder for bilde 9">
            <a:extLst>
              <a:ext uri="{FF2B5EF4-FFF2-40B4-BE49-F238E27FC236}">
                <a16:creationId xmlns:a16="http://schemas.microsoft.com/office/drawing/2014/main" id="{4846D70E-D806-42B4-A444-56599B3EDD1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46586" y="976312"/>
            <a:ext cx="7539013" cy="2683091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14" name="Plassholder for tekst 2">
            <a:extLst>
              <a:ext uri="{FF2B5EF4-FFF2-40B4-BE49-F238E27FC236}">
                <a16:creationId xmlns:a16="http://schemas.microsoft.com/office/drawing/2014/main" id="{A159A91A-2F6D-4739-AE54-9831A38C863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57468" y="976312"/>
            <a:ext cx="107722" cy="5500035"/>
          </a:xfrm>
        </p:spPr>
        <p:txBody>
          <a:bodyPr vert="vert" wrap="square">
            <a:spAutoFit/>
          </a:bodyPr>
          <a:lstStyle>
            <a:lvl1pPr marL="0" indent="0" algn="l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</p:spTree>
    <p:extLst>
      <p:ext uri="{BB962C8B-B14F-4D97-AF65-F5344CB8AC3E}">
        <p14:creationId xmlns:p14="http://schemas.microsoft.com/office/powerpoint/2010/main" val="566335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08.03.2023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4655232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bilde 12">
            <a:extLst>
              <a:ext uri="{FF2B5EF4-FFF2-40B4-BE49-F238E27FC236}">
                <a16:creationId xmlns:a16="http://schemas.microsoft.com/office/drawing/2014/main" id="{9E8A3748-D9BC-4588-9124-CBF265D47AB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400" y="976313"/>
            <a:ext cx="3671290" cy="2485175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0C150E18-AA93-43E3-AC46-77D640A04D5A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5" name="Plassholder for bilde 9">
            <a:extLst>
              <a:ext uri="{FF2B5EF4-FFF2-40B4-BE49-F238E27FC236}">
                <a16:creationId xmlns:a16="http://schemas.microsoft.com/office/drawing/2014/main" id="{B6AF3DD8-E45D-4380-89B6-AF13DBE2E7A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06400" y="3606933"/>
            <a:ext cx="3671290" cy="2869415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11" name="Plassholder for bilde 9">
            <a:extLst>
              <a:ext uri="{FF2B5EF4-FFF2-40B4-BE49-F238E27FC236}">
                <a16:creationId xmlns:a16="http://schemas.microsoft.com/office/drawing/2014/main" id="{15DF30A0-9F84-452A-A444-45F063653C3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46587" y="976313"/>
            <a:ext cx="3701262" cy="5500035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12" name="Plassholder for bilde 10">
            <a:extLst>
              <a:ext uri="{FF2B5EF4-FFF2-40B4-BE49-F238E27FC236}">
                <a16:creationId xmlns:a16="http://schemas.microsoft.com/office/drawing/2014/main" id="{526789EA-E13E-48A6-BBE3-130F44F5D27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15091" y="976313"/>
            <a:ext cx="3670509" cy="3056119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18" name="Plassholder for bilde 13">
            <a:extLst>
              <a:ext uri="{FF2B5EF4-FFF2-40B4-BE49-F238E27FC236}">
                <a16:creationId xmlns:a16="http://schemas.microsoft.com/office/drawing/2014/main" id="{D541F21A-E060-4545-9758-1ADA5E8A9E3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091" y="4215085"/>
            <a:ext cx="3665747" cy="2261263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14" name="Plassholder for tekst 2">
            <a:extLst>
              <a:ext uri="{FF2B5EF4-FFF2-40B4-BE49-F238E27FC236}">
                <a16:creationId xmlns:a16="http://schemas.microsoft.com/office/drawing/2014/main" id="{EDAC5FE1-F477-4417-B183-216CDB7FFF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57468" y="976312"/>
            <a:ext cx="107722" cy="5500035"/>
          </a:xfrm>
        </p:spPr>
        <p:txBody>
          <a:bodyPr vert="vert" wrap="square">
            <a:spAutoFit/>
          </a:bodyPr>
          <a:lstStyle>
            <a:lvl1pPr marL="0" indent="0" algn="l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  <p:pic>
        <p:nvPicPr>
          <p:cNvPr id="16" name="Grafikk 15">
            <a:extLst>
              <a:ext uri="{FF2B5EF4-FFF2-40B4-BE49-F238E27FC236}">
                <a16:creationId xmlns:a16="http://schemas.microsoft.com/office/drawing/2014/main" id="{E8FAE8B1-32ED-5C4A-AA20-DC08D54EF6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867125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FD02CBD6-E0D6-437A-B3ED-7511445B7987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5" name="Plassholder for bilde 9">
            <a:extLst>
              <a:ext uri="{FF2B5EF4-FFF2-40B4-BE49-F238E27FC236}">
                <a16:creationId xmlns:a16="http://schemas.microsoft.com/office/drawing/2014/main" id="{B6AF3DD8-E45D-4380-89B6-AF13DBE2E7A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250727" y="976313"/>
            <a:ext cx="7530112" cy="2664965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16" name="Plassholder for bilde 9">
            <a:extLst>
              <a:ext uri="{FF2B5EF4-FFF2-40B4-BE49-F238E27FC236}">
                <a16:creationId xmlns:a16="http://schemas.microsoft.com/office/drawing/2014/main" id="{60C59660-6576-47AC-AB0D-A04DB9B8FAB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250726" y="3828466"/>
            <a:ext cx="3697374" cy="2647879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11" name="Plassholder for bilde 9">
            <a:extLst>
              <a:ext uri="{FF2B5EF4-FFF2-40B4-BE49-F238E27FC236}">
                <a16:creationId xmlns:a16="http://schemas.microsoft.com/office/drawing/2014/main" id="{8A8E1D40-0565-408A-B029-F0A20B771F3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113229" y="3828465"/>
            <a:ext cx="3667609" cy="2647879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20" name="Plassholder for bilde 12">
            <a:extLst>
              <a:ext uri="{FF2B5EF4-FFF2-40B4-BE49-F238E27FC236}">
                <a16:creationId xmlns:a16="http://schemas.microsoft.com/office/drawing/2014/main" id="{BD103718-D9CD-43DD-812C-E66A6998356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400" y="976313"/>
            <a:ext cx="3671290" cy="5500034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2">
            <a:extLst>
              <a:ext uri="{FF2B5EF4-FFF2-40B4-BE49-F238E27FC236}">
                <a16:creationId xmlns:a16="http://schemas.microsoft.com/office/drawing/2014/main" id="{9D18FA0C-C228-4F44-82C8-F0AEBBED9B6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57468" y="976312"/>
            <a:ext cx="107722" cy="5500035"/>
          </a:xfrm>
        </p:spPr>
        <p:txBody>
          <a:bodyPr vert="vert" wrap="square">
            <a:spAutoFit/>
          </a:bodyPr>
          <a:lstStyle>
            <a:lvl1pPr marL="0" indent="0" algn="l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  <p:pic>
        <p:nvPicPr>
          <p:cNvPr id="13" name="Grafikk 12">
            <a:extLst>
              <a:ext uri="{FF2B5EF4-FFF2-40B4-BE49-F238E27FC236}">
                <a16:creationId xmlns:a16="http://schemas.microsoft.com/office/drawing/2014/main" id="{9B145B0F-189F-DA43-B9D2-107B5875D37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1179860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39044BC9-C33A-4F00-AB6A-0402DE569525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Plassholder for bilde 9">
            <a:extLst>
              <a:ext uri="{FF2B5EF4-FFF2-40B4-BE49-F238E27FC236}">
                <a16:creationId xmlns:a16="http://schemas.microsoft.com/office/drawing/2014/main" id="{1FF6A982-1173-45CF-8196-51E2C53BD43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245369" y="976313"/>
            <a:ext cx="3701262" cy="5500032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13" name="Plassholder for bilde 9">
            <a:extLst>
              <a:ext uri="{FF2B5EF4-FFF2-40B4-BE49-F238E27FC236}">
                <a16:creationId xmlns:a16="http://schemas.microsoft.com/office/drawing/2014/main" id="{DD90688F-0610-4E9F-91A1-4B902D1D102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09342" y="976313"/>
            <a:ext cx="3671496" cy="5500032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11" name="Plassholder for bilde 12">
            <a:extLst>
              <a:ext uri="{FF2B5EF4-FFF2-40B4-BE49-F238E27FC236}">
                <a16:creationId xmlns:a16="http://schemas.microsoft.com/office/drawing/2014/main" id="{DD9A2790-C9EC-4CCF-898E-A5B002E7EEB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400" y="976313"/>
            <a:ext cx="3671290" cy="5500034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2">
            <a:extLst>
              <a:ext uri="{FF2B5EF4-FFF2-40B4-BE49-F238E27FC236}">
                <a16:creationId xmlns:a16="http://schemas.microsoft.com/office/drawing/2014/main" id="{FCA85F74-51BB-4D73-8859-F8FDD47BFE2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57468" y="976312"/>
            <a:ext cx="107722" cy="5500035"/>
          </a:xfrm>
        </p:spPr>
        <p:txBody>
          <a:bodyPr vert="vert" wrap="square">
            <a:spAutoFit/>
          </a:bodyPr>
          <a:lstStyle>
            <a:lvl1pPr marL="0" indent="0" algn="l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  <p:pic>
        <p:nvPicPr>
          <p:cNvPr id="12" name="Grafikk 11">
            <a:extLst>
              <a:ext uri="{FF2B5EF4-FFF2-40B4-BE49-F238E27FC236}">
                <a16:creationId xmlns:a16="http://schemas.microsoft.com/office/drawing/2014/main" id="{4CB1699F-D6F9-834B-8C3F-53277732D0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723414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352F1F83-84DB-401C-8D12-940686D604DF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Plassholder for bilde 12">
            <a:extLst>
              <a:ext uri="{FF2B5EF4-FFF2-40B4-BE49-F238E27FC236}">
                <a16:creationId xmlns:a16="http://schemas.microsoft.com/office/drawing/2014/main" id="{EE68CC7D-AA5C-4399-BA6B-E5EBFF4DB48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400" y="976313"/>
            <a:ext cx="5603340" cy="5500034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12" name="Plassholder for bilde 12">
            <a:extLst>
              <a:ext uri="{FF2B5EF4-FFF2-40B4-BE49-F238E27FC236}">
                <a16:creationId xmlns:a16="http://schemas.microsoft.com/office/drawing/2014/main" id="{38118730-7423-4715-8302-6A6FCBEE598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82262" y="976313"/>
            <a:ext cx="5603340" cy="5500034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9" name="Plassholder for tekst 2">
            <a:extLst>
              <a:ext uri="{FF2B5EF4-FFF2-40B4-BE49-F238E27FC236}">
                <a16:creationId xmlns:a16="http://schemas.microsoft.com/office/drawing/2014/main" id="{43924911-BEA6-4E57-BF82-1AF6C36DBB2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57468" y="976312"/>
            <a:ext cx="107722" cy="5500035"/>
          </a:xfrm>
        </p:spPr>
        <p:txBody>
          <a:bodyPr vert="vert" wrap="square">
            <a:spAutoFit/>
          </a:bodyPr>
          <a:lstStyle>
            <a:lvl1pPr marL="0" indent="0" algn="l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86ECAC1C-5713-E146-A144-378A135969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5454207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t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1A638D09-8691-4371-A556-A09705D5D536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Plassholder for bilde 12">
            <a:extLst>
              <a:ext uri="{FF2B5EF4-FFF2-40B4-BE49-F238E27FC236}">
                <a16:creationId xmlns:a16="http://schemas.microsoft.com/office/drawing/2014/main" id="{0D544DBE-4338-44E3-A81D-6B4E650A7A6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400" y="976313"/>
            <a:ext cx="11374438" cy="5500034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C81084AF-41EE-488F-A708-C8CAD2EA5E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57468" y="976312"/>
            <a:ext cx="107722" cy="5500035"/>
          </a:xfrm>
        </p:spPr>
        <p:txBody>
          <a:bodyPr vert="vert" wrap="square">
            <a:spAutoFit/>
          </a:bodyPr>
          <a:lstStyle>
            <a:lvl1pPr marL="0" indent="0" algn="l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0AAED46D-CB9C-AF40-AD84-A77B11F753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10283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jul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015AA92-CFF3-4A68-B2C4-B3E6548DB70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96926" y="1884680"/>
            <a:ext cx="2688585" cy="307777"/>
          </a:xfr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Mellomtittel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B5E21243-0A53-4B5E-8D26-9A5A7EC3969A}" type="datetime1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767CD8C-E6E1-47F7-A9B5-467CDD16F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864037"/>
            <a:ext cx="8763000" cy="584775"/>
          </a:xfrm>
        </p:spPr>
        <p:txBody>
          <a:bodyPr lIns="0" tIns="0" rIns="0" bIns="0" anchor="t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1" name="Plassholder for innhold 2">
            <a:extLst>
              <a:ext uri="{FF2B5EF4-FFF2-40B4-BE49-F238E27FC236}">
                <a16:creationId xmlns:a16="http://schemas.microsoft.com/office/drawing/2014/main" id="{D1A5C7BA-CCD2-40AB-95E9-773DE7FB605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96926" y="2202180"/>
            <a:ext cx="2688585" cy="1484034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tekst 2">
            <a:extLst>
              <a:ext uri="{FF2B5EF4-FFF2-40B4-BE49-F238E27FC236}">
                <a16:creationId xmlns:a16="http://schemas.microsoft.com/office/drawing/2014/main" id="{A9A60586-33CD-4C12-BD20-BB7CB6F21AC8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796926" y="4265890"/>
            <a:ext cx="2688585" cy="307777"/>
          </a:xfr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Mellomtittel</a:t>
            </a:r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2C109AC8-F42F-45B9-9DF9-AE98BCB84EED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796926" y="4583390"/>
            <a:ext cx="2688585" cy="1484034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8" name="Plassholder for tekst 2">
            <a:extLst>
              <a:ext uri="{FF2B5EF4-FFF2-40B4-BE49-F238E27FC236}">
                <a16:creationId xmlns:a16="http://schemas.microsoft.com/office/drawing/2014/main" id="{9474D08C-07FB-4270-9741-F3F245E9DC5A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700135" y="1884680"/>
            <a:ext cx="2688585" cy="307777"/>
          </a:xfr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Mellomtittel</a:t>
            </a:r>
          </a:p>
        </p:txBody>
      </p:sp>
      <p:sp>
        <p:nvSpPr>
          <p:cNvPr id="19" name="Plassholder for innhold 2">
            <a:extLst>
              <a:ext uri="{FF2B5EF4-FFF2-40B4-BE49-F238E27FC236}">
                <a16:creationId xmlns:a16="http://schemas.microsoft.com/office/drawing/2014/main" id="{E69F2686-45C5-4D95-9EAF-D46D534ED3D5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8700135" y="2202180"/>
            <a:ext cx="2688585" cy="1484034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0" name="Plassholder for tekst 2">
            <a:extLst>
              <a:ext uri="{FF2B5EF4-FFF2-40B4-BE49-F238E27FC236}">
                <a16:creationId xmlns:a16="http://schemas.microsoft.com/office/drawing/2014/main" id="{3FF69A63-78FB-49C5-852E-1C7559E69BF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8700135" y="4265890"/>
            <a:ext cx="2688585" cy="307777"/>
          </a:xfr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Mellomtittel</a:t>
            </a:r>
          </a:p>
        </p:txBody>
      </p:sp>
      <p:sp>
        <p:nvSpPr>
          <p:cNvPr id="21" name="Plassholder for innhold 2">
            <a:extLst>
              <a:ext uri="{FF2B5EF4-FFF2-40B4-BE49-F238E27FC236}">
                <a16:creationId xmlns:a16="http://schemas.microsoft.com/office/drawing/2014/main" id="{827A236F-F1E3-43A3-AEB2-F8044067EF4B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8700135" y="4583390"/>
            <a:ext cx="2688585" cy="1484034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293579974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2CE88AE4-D6DC-47D7-95AB-19E519618CFA}" type="datetime1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065061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gu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EB01A1F4-F13F-4618-960E-81237E5EA3BF}" type="datetime1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767CD8C-E6E1-47F7-A9B5-467CDD16F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864037"/>
            <a:ext cx="8763000" cy="1169551"/>
          </a:xfrm>
        </p:spPr>
        <p:txBody>
          <a:bodyPr lIns="0" tIns="0" rIns="0" bIns="0" anchor="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8" name="Plassholder for tekst 17">
            <a:extLst>
              <a:ext uri="{FF2B5EF4-FFF2-40B4-BE49-F238E27FC236}">
                <a16:creationId xmlns:a16="http://schemas.microsoft.com/office/drawing/2014/main" id="{980D9618-CA67-4EEF-97EF-B19AAD4D2B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6925" y="2550667"/>
            <a:ext cx="2077202" cy="1141200"/>
          </a:xfrm>
          <a:custGeom>
            <a:avLst/>
            <a:gdLst>
              <a:gd name="connsiteX0" fmla="*/ 0 w 2077202"/>
              <a:gd name="connsiteY0" fmla="*/ 0 h 1141200"/>
              <a:gd name="connsiteX1" fmla="*/ 1925815 w 2077202"/>
              <a:gd name="connsiteY1" fmla="*/ 0 h 1141200"/>
              <a:gd name="connsiteX2" fmla="*/ 1925815 w 2077202"/>
              <a:gd name="connsiteY2" fmla="*/ 413919 h 1141200"/>
              <a:gd name="connsiteX3" fmla="*/ 2077202 w 2077202"/>
              <a:gd name="connsiteY3" fmla="*/ 570600 h 1141200"/>
              <a:gd name="connsiteX4" fmla="*/ 1925815 w 2077202"/>
              <a:gd name="connsiteY4" fmla="*/ 727406 h 1141200"/>
              <a:gd name="connsiteX5" fmla="*/ 1925815 w 2077202"/>
              <a:gd name="connsiteY5" fmla="*/ 1141200 h 1141200"/>
              <a:gd name="connsiteX6" fmla="*/ 0 w 2077202"/>
              <a:gd name="connsiteY6" fmla="*/ 1141200 h 114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77202" h="1141200">
                <a:moveTo>
                  <a:pt x="0" y="0"/>
                </a:moveTo>
                <a:lnTo>
                  <a:pt x="1925815" y="0"/>
                </a:lnTo>
                <a:lnTo>
                  <a:pt x="1925815" y="413919"/>
                </a:lnTo>
                <a:lnTo>
                  <a:pt x="2077202" y="570600"/>
                </a:lnTo>
                <a:lnTo>
                  <a:pt x="1925815" y="727406"/>
                </a:lnTo>
                <a:lnTo>
                  <a:pt x="1925815" y="1141200"/>
                </a:lnTo>
                <a:lnTo>
                  <a:pt x="0" y="1141200"/>
                </a:lnTo>
                <a:close/>
              </a:path>
            </a:pathLst>
          </a:custGeom>
          <a:solidFill>
            <a:srgbClr val="6CACE4"/>
          </a:solidFill>
        </p:spPr>
        <p:txBody>
          <a:bodyPr wrap="square" lIns="180000" rIns="324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Sett inn mellomtittel</a:t>
            </a:r>
          </a:p>
        </p:txBody>
      </p:sp>
      <p:sp>
        <p:nvSpPr>
          <p:cNvPr id="21" name="Plassholder for tekst 20">
            <a:extLst>
              <a:ext uri="{FF2B5EF4-FFF2-40B4-BE49-F238E27FC236}">
                <a16:creationId xmlns:a16="http://schemas.microsoft.com/office/drawing/2014/main" id="{294781A3-E6F4-4901-810C-582E1E51DBA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70263" y="2550667"/>
            <a:ext cx="2077202" cy="1141200"/>
          </a:xfrm>
          <a:custGeom>
            <a:avLst/>
            <a:gdLst>
              <a:gd name="connsiteX0" fmla="*/ 0 w 2077202"/>
              <a:gd name="connsiteY0" fmla="*/ 0 h 1141200"/>
              <a:gd name="connsiteX1" fmla="*/ 1925815 w 2077202"/>
              <a:gd name="connsiteY1" fmla="*/ 0 h 1141200"/>
              <a:gd name="connsiteX2" fmla="*/ 1925815 w 2077202"/>
              <a:gd name="connsiteY2" fmla="*/ 413919 h 1141200"/>
              <a:gd name="connsiteX3" fmla="*/ 2077202 w 2077202"/>
              <a:gd name="connsiteY3" fmla="*/ 570600 h 1141200"/>
              <a:gd name="connsiteX4" fmla="*/ 1925815 w 2077202"/>
              <a:gd name="connsiteY4" fmla="*/ 727406 h 1141200"/>
              <a:gd name="connsiteX5" fmla="*/ 1925815 w 2077202"/>
              <a:gd name="connsiteY5" fmla="*/ 1141200 h 1141200"/>
              <a:gd name="connsiteX6" fmla="*/ 0 w 2077202"/>
              <a:gd name="connsiteY6" fmla="*/ 1141200 h 114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77202" h="1141200">
                <a:moveTo>
                  <a:pt x="0" y="0"/>
                </a:moveTo>
                <a:lnTo>
                  <a:pt x="1925815" y="0"/>
                </a:lnTo>
                <a:lnTo>
                  <a:pt x="1925815" y="413919"/>
                </a:lnTo>
                <a:lnTo>
                  <a:pt x="2077202" y="570600"/>
                </a:lnTo>
                <a:lnTo>
                  <a:pt x="1925815" y="727406"/>
                </a:lnTo>
                <a:lnTo>
                  <a:pt x="1925815" y="1141200"/>
                </a:lnTo>
                <a:lnTo>
                  <a:pt x="0" y="1141200"/>
                </a:lnTo>
                <a:close/>
              </a:path>
            </a:pathLst>
          </a:custGeom>
          <a:solidFill>
            <a:srgbClr val="FFC845">
              <a:alpha val="80000"/>
            </a:srgbClr>
          </a:solidFill>
        </p:spPr>
        <p:txBody>
          <a:bodyPr wrap="square" lIns="180000" rIns="324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Sett inn mellomtittel</a:t>
            </a:r>
          </a:p>
        </p:txBody>
      </p:sp>
      <p:sp>
        <p:nvSpPr>
          <p:cNvPr id="22" name="Plassholder for tekst 21">
            <a:extLst>
              <a:ext uri="{FF2B5EF4-FFF2-40B4-BE49-F238E27FC236}">
                <a16:creationId xmlns:a16="http://schemas.microsoft.com/office/drawing/2014/main" id="{F43E154C-A850-46AE-94EE-7DA3A017EDA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48427" y="2550667"/>
            <a:ext cx="2077202" cy="1141200"/>
          </a:xfrm>
          <a:custGeom>
            <a:avLst/>
            <a:gdLst>
              <a:gd name="connsiteX0" fmla="*/ 0 w 2077202"/>
              <a:gd name="connsiteY0" fmla="*/ 0 h 1141200"/>
              <a:gd name="connsiteX1" fmla="*/ 1925815 w 2077202"/>
              <a:gd name="connsiteY1" fmla="*/ 0 h 1141200"/>
              <a:gd name="connsiteX2" fmla="*/ 1925815 w 2077202"/>
              <a:gd name="connsiteY2" fmla="*/ 413919 h 1141200"/>
              <a:gd name="connsiteX3" fmla="*/ 2077202 w 2077202"/>
              <a:gd name="connsiteY3" fmla="*/ 570600 h 1141200"/>
              <a:gd name="connsiteX4" fmla="*/ 1925815 w 2077202"/>
              <a:gd name="connsiteY4" fmla="*/ 727406 h 1141200"/>
              <a:gd name="connsiteX5" fmla="*/ 1925815 w 2077202"/>
              <a:gd name="connsiteY5" fmla="*/ 1141200 h 1141200"/>
              <a:gd name="connsiteX6" fmla="*/ 0 w 2077202"/>
              <a:gd name="connsiteY6" fmla="*/ 1141200 h 114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77202" h="1141200">
                <a:moveTo>
                  <a:pt x="0" y="0"/>
                </a:moveTo>
                <a:lnTo>
                  <a:pt x="1925815" y="0"/>
                </a:lnTo>
                <a:lnTo>
                  <a:pt x="1925815" y="413919"/>
                </a:lnTo>
                <a:lnTo>
                  <a:pt x="2077202" y="570600"/>
                </a:lnTo>
                <a:lnTo>
                  <a:pt x="1925815" y="727406"/>
                </a:lnTo>
                <a:lnTo>
                  <a:pt x="1925815" y="1141200"/>
                </a:lnTo>
                <a:lnTo>
                  <a:pt x="0" y="1141200"/>
                </a:lnTo>
                <a:close/>
              </a:path>
            </a:pathLst>
          </a:custGeom>
          <a:solidFill>
            <a:srgbClr val="FF671F">
              <a:alpha val="80000"/>
            </a:srgbClr>
          </a:solidFill>
        </p:spPr>
        <p:txBody>
          <a:bodyPr wrap="square" lIns="180000" rIns="324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Sett inn mellomtittel</a:t>
            </a:r>
          </a:p>
        </p:txBody>
      </p:sp>
      <p:sp>
        <p:nvSpPr>
          <p:cNvPr id="23" name="Plassholder for tekst 22">
            <a:extLst>
              <a:ext uri="{FF2B5EF4-FFF2-40B4-BE49-F238E27FC236}">
                <a16:creationId xmlns:a16="http://schemas.microsoft.com/office/drawing/2014/main" id="{0B365A76-FEDD-4EE5-8005-0FEC4515D9E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26591" y="2550667"/>
            <a:ext cx="2077202" cy="1141200"/>
          </a:xfrm>
          <a:custGeom>
            <a:avLst/>
            <a:gdLst>
              <a:gd name="connsiteX0" fmla="*/ 0 w 2077202"/>
              <a:gd name="connsiteY0" fmla="*/ 0 h 1141200"/>
              <a:gd name="connsiteX1" fmla="*/ 1925815 w 2077202"/>
              <a:gd name="connsiteY1" fmla="*/ 0 h 1141200"/>
              <a:gd name="connsiteX2" fmla="*/ 1925815 w 2077202"/>
              <a:gd name="connsiteY2" fmla="*/ 413919 h 1141200"/>
              <a:gd name="connsiteX3" fmla="*/ 2077202 w 2077202"/>
              <a:gd name="connsiteY3" fmla="*/ 570600 h 1141200"/>
              <a:gd name="connsiteX4" fmla="*/ 1925815 w 2077202"/>
              <a:gd name="connsiteY4" fmla="*/ 727406 h 1141200"/>
              <a:gd name="connsiteX5" fmla="*/ 1925815 w 2077202"/>
              <a:gd name="connsiteY5" fmla="*/ 1141200 h 1141200"/>
              <a:gd name="connsiteX6" fmla="*/ 0 w 2077202"/>
              <a:gd name="connsiteY6" fmla="*/ 1141200 h 114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77202" h="1141200">
                <a:moveTo>
                  <a:pt x="0" y="0"/>
                </a:moveTo>
                <a:lnTo>
                  <a:pt x="1925815" y="0"/>
                </a:lnTo>
                <a:lnTo>
                  <a:pt x="1925815" y="413919"/>
                </a:lnTo>
                <a:lnTo>
                  <a:pt x="2077202" y="570600"/>
                </a:lnTo>
                <a:lnTo>
                  <a:pt x="1925815" y="727406"/>
                </a:lnTo>
                <a:lnTo>
                  <a:pt x="1925815" y="1141200"/>
                </a:lnTo>
                <a:lnTo>
                  <a:pt x="0" y="1141200"/>
                </a:lnTo>
                <a:close/>
              </a:path>
            </a:pathLst>
          </a:custGeom>
          <a:solidFill>
            <a:srgbClr val="BFCED6">
              <a:alpha val="80000"/>
            </a:srgbClr>
          </a:solidFill>
        </p:spPr>
        <p:txBody>
          <a:bodyPr wrap="square" lIns="180000" rIns="324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Sett inn mellomtittel</a:t>
            </a:r>
          </a:p>
        </p:txBody>
      </p:sp>
      <p:sp>
        <p:nvSpPr>
          <p:cNvPr id="24" name="Plassholder for tekst 23">
            <a:extLst>
              <a:ext uri="{FF2B5EF4-FFF2-40B4-BE49-F238E27FC236}">
                <a16:creationId xmlns:a16="http://schemas.microsoft.com/office/drawing/2014/main" id="{FAF72941-2213-48F9-A258-464DB4AE06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504755" y="2550667"/>
            <a:ext cx="2077202" cy="1141200"/>
          </a:xfrm>
          <a:custGeom>
            <a:avLst/>
            <a:gdLst>
              <a:gd name="connsiteX0" fmla="*/ 0 w 2077202"/>
              <a:gd name="connsiteY0" fmla="*/ 0 h 1141200"/>
              <a:gd name="connsiteX1" fmla="*/ 1925815 w 2077202"/>
              <a:gd name="connsiteY1" fmla="*/ 0 h 1141200"/>
              <a:gd name="connsiteX2" fmla="*/ 1925815 w 2077202"/>
              <a:gd name="connsiteY2" fmla="*/ 413919 h 1141200"/>
              <a:gd name="connsiteX3" fmla="*/ 2077202 w 2077202"/>
              <a:gd name="connsiteY3" fmla="*/ 570600 h 1141200"/>
              <a:gd name="connsiteX4" fmla="*/ 1925815 w 2077202"/>
              <a:gd name="connsiteY4" fmla="*/ 727406 h 1141200"/>
              <a:gd name="connsiteX5" fmla="*/ 1925815 w 2077202"/>
              <a:gd name="connsiteY5" fmla="*/ 1141200 h 1141200"/>
              <a:gd name="connsiteX6" fmla="*/ 0 w 2077202"/>
              <a:gd name="connsiteY6" fmla="*/ 1141200 h 114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77202" h="1141200">
                <a:moveTo>
                  <a:pt x="0" y="0"/>
                </a:moveTo>
                <a:lnTo>
                  <a:pt x="1925815" y="0"/>
                </a:lnTo>
                <a:lnTo>
                  <a:pt x="1925815" y="413919"/>
                </a:lnTo>
                <a:lnTo>
                  <a:pt x="2077202" y="570600"/>
                </a:lnTo>
                <a:lnTo>
                  <a:pt x="1925815" y="727406"/>
                </a:lnTo>
                <a:lnTo>
                  <a:pt x="1925815" y="1141200"/>
                </a:lnTo>
                <a:lnTo>
                  <a:pt x="0" y="1141200"/>
                </a:lnTo>
                <a:close/>
              </a:path>
            </a:pathLst>
          </a:custGeom>
          <a:solidFill>
            <a:srgbClr val="6FA287">
              <a:alpha val="60000"/>
            </a:srgbClr>
          </a:solidFill>
        </p:spPr>
        <p:txBody>
          <a:bodyPr wrap="square" lIns="180000" rIns="324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Sett inn mellomtittel</a:t>
            </a:r>
          </a:p>
        </p:txBody>
      </p:sp>
      <p:sp>
        <p:nvSpPr>
          <p:cNvPr id="26" name="Plassholder for tekst 25">
            <a:extLst>
              <a:ext uri="{FF2B5EF4-FFF2-40B4-BE49-F238E27FC236}">
                <a16:creationId xmlns:a16="http://schemas.microsoft.com/office/drawing/2014/main" id="{B683161D-B5CD-4402-B040-A0C53012115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96925" y="4099487"/>
            <a:ext cx="1946275" cy="1963175"/>
          </a:xfrm>
        </p:spPr>
        <p:txBody>
          <a:bodyPr/>
          <a:lstStyle>
            <a:lvl1pPr marL="0" indent="0">
              <a:buNone/>
              <a:defRPr/>
            </a:lvl1pPr>
            <a:lvl2pPr marL="304800" indent="0"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</p:txBody>
      </p:sp>
      <p:sp>
        <p:nvSpPr>
          <p:cNvPr id="27" name="Plassholder for tekst 25">
            <a:extLst>
              <a:ext uri="{FF2B5EF4-FFF2-40B4-BE49-F238E27FC236}">
                <a16:creationId xmlns:a16="http://schemas.microsoft.com/office/drawing/2014/main" id="{1CFE57D9-0F71-4D97-9C49-4F0EEE5E8DB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970263" y="4099487"/>
            <a:ext cx="1946275" cy="1963175"/>
          </a:xfrm>
        </p:spPr>
        <p:txBody>
          <a:bodyPr/>
          <a:lstStyle>
            <a:lvl1pPr marL="0" indent="0">
              <a:buNone/>
              <a:defRPr/>
            </a:lvl1pPr>
            <a:lvl2pPr marL="304800" indent="0"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</p:txBody>
      </p:sp>
      <p:sp>
        <p:nvSpPr>
          <p:cNvPr id="28" name="Plassholder for tekst 25">
            <a:extLst>
              <a:ext uri="{FF2B5EF4-FFF2-40B4-BE49-F238E27FC236}">
                <a16:creationId xmlns:a16="http://schemas.microsoft.com/office/drawing/2014/main" id="{CEC8F951-6502-4237-9074-25F2C25EBA6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43601" y="4099487"/>
            <a:ext cx="1946275" cy="1963175"/>
          </a:xfrm>
        </p:spPr>
        <p:txBody>
          <a:bodyPr/>
          <a:lstStyle>
            <a:lvl1pPr marL="0" indent="0">
              <a:buNone/>
              <a:defRPr/>
            </a:lvl1pPr>
            <a:lvl2pPr marL="304800" indent="0"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</p:txBody>
      </p:sp>
      <p:sp>
        <p:nvSpPr>
          <p:cNvPr id="29" name="Plassholder for tekst 25">
            <a:extLst>
              <a:ext uri="{FF2B5EF4-FFF2-40B4-BE49-F238E27FC236}">
                <a16:creationId xmlns:a16="http://schemas.microsoft.com/office/drawing/2014/main" id="{8045DC42-5803-46CB-B7A0-A131E098534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316939" y="4099487"/>
            <a:ext cx="1946275" cy="1963175"/>
          </a:xfrm>
        </p:spPr>
        <p:txBody>
          <a:bodyPr/>
          <a:lstStyle>
            <a:lvl1pPr marL="0" indent="0">
              <a:buNone/>
              <a:defRPr/>
            </a:lvl1pPr>
            <a:lvl2pPr marL="304800" indent="0"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</p:txBody>
      </p:sp>
      <p:sp>
        <p:nvSpPr>
          <p:cNvPr id="30" name="Plassholder for tekst 25">
            <a:extLst>
              <a:ext uri="{FF2B5EF4-FFF2-40B4-BE49-F238E27FC236}">
                <a16:creationId xmlns:a16="http://schemas.microsoft.com/office/drawing/2014/main" id="{154DCB59-20D9-44F4-BD70-3558B1E4C18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490277" y="4099487"/>
            <a:ext cx="1946275" cy="1963175"/>
          </a:xfrm>
        </p:spPr>
        <p:txBody>
          <a:bodyPr/>
          <a:lstStyle>
            <a:lvl1pPr marL="0" indent="0">
              <a:buNone/>
              <a:defRPr/>
            </a:lvl1pPr>
            <a:lvl2pPr marL="304800" indent="0"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</p:txBody>
      </p:sp>
    </p:spTree>
    <p:extLst>
      <p:ext uri="{BB962C8B-B14F-4D97-AF65-F5344CB8AC3E}">
        <p14:creationId xmlns:p14="http://schemas.microsoft.com/office/powerpoint/2010/main" val="383265596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auseside med dekor blå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711D1A4-C7C4-41B6-A20A-E04C3D11A5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09AD0F42-88F7-4426-8B24-A2C24B047AD9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55B6032-7D05-4D83-8FF2-DBCDFB87B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" y="-149313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81243BF-36D7-45B2-9C81-EB43C04D2E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49313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6B81A321-9273-48AB-9354-A60166B59A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23238" y="2222499"/>
            <a:ext cx="3265488" cy="3840163"/>
          </a:xfrm>
        </p:spPr>
        <p:txBody>
          <a:bodyPr wrap="square" lIns="0" tIns="0" rIns="0" bIns="0" anchor="t">
            <a:noAutofit/>
          </a:bodyPr>
          <a:lstStyle>
            <a:lvl1pPr algn="l">
              <a:defRPr sz="3800">
                <a:solidFill>
                  <a:schemeClr val="dk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8" descr="Et bilde som inneholder tekst&#10;&#10;Automatisk generert beskrivelse">
            <a:extLst>
              <a:ext uri="{FF2B5EF4-FFF2-40B4-BE49-F238E27FC236}">
                <a16:creationId xmlns:a16="http://schemas.microsoft.com/office/drawing/2014/main" id="{1CF77BC4-34AA-4675-BE55-234304E21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732776" cy="6858000"/>
          </a:xfrm>
          <a:prstGeom prst="rect">
            <a:avLst/>
          </a:prstGeom>
        </p:spPr>
      </p:pic>
      <p:pic>
        <p:nvPicPr>
          <p:cNvPr id="10" name="Grafikk 9">
            <a:extLst>
              <a:ext uri="{FF2B5EF4-FFF2-40B4-BE49-F238E27FC236}">
                <a16:creationId xmlns:a16="http://schemas.microsoft.com/office/drawing/2014/main" id="{83688B5B-08F8-FA49-95AB-92CF82DF886B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6766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86274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m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2CE88AE4-D6DC-47D7-95AB-19E519618CFA}" type="datetime1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811362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, tekst og bild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50532F98-8284-484E-8BF4-A5270B91B9B5}" type="datetime1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767CD8C-E6E1-47F7-A9B5-467CDD16F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976313"/>
            <a:ext cx="3267076" cy="1057275"/>
          </a:xfrm>
        </p:spPr>
        <p:txBody>
          <a:bodyPr lIns="0" tIns="0" rIns="0" bIns="0"/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Plassholder for bilde 3">
            <a:extLst>
              <a:ext uri="{FF2B5EF4-FFF2-40B4-BE49-F238E27FC236}">
                <a16:creationId xmlns:a16="http://schemas.microsoft.com/office/drawing/2014/main" id="{B5A1E56D-AE99-4789-B24D-61210A3F24F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59288" y="976312"/>
            <a:ext cx="7732712" cy="5086351"/>
          </a:xfrm>
          <a:prstGeom prst="rect">
            <a:avLst/>
          </a:prstGeom>
          <a:solidFill>
            <a:schemeClr val="lt2"/>
          </a:solidFill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2F76D602-75E9-486D-9F94-3D7511C622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925" y="2413000"/>
            <a:ext cx="3267076" cy="3649664"/>
          </a:xfr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2">
            <a:extLst>
              <a:ext uri="{FF2B5EF4-FFF2-40B4-BE49-F238E27FC236}">
                <a16:creationId xmlns:a16="http://schemas.microsoft.com/office/drawing/2014/main" id="{0B37DE26-D1C3-4958-AAD0-4B083C57A7A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24843" y="1412460"/>
            <a:ext cx="107722" cy="4543926"/>
          </a:xfrm>
        </p:spPr>
        <p:txBody>
          <a:bodyPr vert="vert">
            <a:spAutoFit/>
          </a:bodyPr>
          <a:lstStyle>
            <a:lvl1pPr marL="0" indent="0" algn="r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</p:spTree>
    <p:extLst>
      <p:ext uri="{BB962C8B-B14F-4D97-AF65-F5344CB8AC3E}">
        <p14:creationId xmlns:p14="http://schemas.microsoft.com/office/powerpoint/2010/main" val="317020103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352F1F83-84DB-401C-8D12-940686D604DF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Plassholder for bilde 12">
            <a:extLst>
              <a:ext uri="{FF2B5EF4-FFF2-40B4-BE49-F238E27FC236}">
                <a16:creationId xmlns:a16="http://schemas.microsoft.com/office/drawing/2014/main" id="{EE68CC7D-AA5C-4399-BA6B-E5EBFF4DB48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400" y="976313"/>
            <a:ext cx="5603340" cy="5500034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2" name="Plassholder for bilde 12">
            <a:extLst>
              <a:ext uri="{FF2B5EF4-FFF2-40B4-BE49-F238E27FC236}">
                <a16:creationId xmlns:a16="http://schemas.microsoft.com/office/drawing/2014/main" id="{38118730-7423-4715-8302-6A6FCBEE598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82262" y="976313"/>
            <a:ext cx="5603340" cy="5500034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9" name="Plassholder for tekst 2">
            <a:extLst>
              <a:ext uri="{FF2B5EF4-FFF2-40B4-BE49-F238E27FC236}">
                <a16:creationId xmlns:a16="http://schemas.microsoft.com/office/drawing/2014/main" id="{43924911-BEA6-4E57-BF82-1AF6C36DBB2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57468" y="976312"/>
            <a:ext cx="107722" cy="5500035"/>
          </a:xfrm>
        </p:spPr>
        <p:txBody>
          <a:bodyPr vert="vert" wrap="square">
            <a:spAutoFit/>
          </a:bodyPr>
          <a:lstStyle>
            <a:lvl1pPr marL="0" indent="0" algn="l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86ECAC1C-5713-E146-A144-378A135969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127280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CC0ECB62-1AEE-44CF-B49B-E42FC5854D2B}"/>
              </a:ext>
            </a:extLst>
          </p:cNvPr>
          <p:cNvSpPr>
            <a:spLocks/>
          </p:cNvSpPr>
          <p:nvPr userDrawn="1"/>
        </p:nvSpPr>
        <p:spPr>
          <a:xfrm>
            <a:off x="0" y="986653"/>
            <a:ext cx="12192000" cy="587134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571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E0AB172-1CA3-41A2-A981-1FAE41E0AE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28901" y="2472030"/>
            <a:ext cx="7326312" cy="1169551"/>
          </a:xfrm>
        </p:spPr>
        <p:txBody>
          <a:bodyPr wrap="square" lIns="0" tIns="0" rIns="0" bIns="0" anchor="b">
            <a:noAutofit/>
          </a:bodyPr>
          <a:lstStyle>
            <a:lvl1pPr algn="ctr">
              <a:defRPr sz="380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32A96FBF-2AD2-49E7-82B8-77F232A2D3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28901" y="3981884"/>
            <a:ext cx="7326312" cy="615553"/>
          </a:xfrm>
        </p:spPr>
        <p:txBody>
          <a:bodyPr wrap="square" lIns="0" tIns="0" rIns="0" bIns="0">
            <a:noAutofit/>
          </a:bodyPr>
          <a:lstStyle>
            <a:lvl1pPr marL="0" indent="0" algn="ctr">
              <a:buNone/>
              <a:defRPr sz="2000">
                <a:solidFill>
                  <a:schemeClr val="lt1"/>
                </a:solidFill>
              </a:defRPr>
            </a:lvl1pPr>
            <a:lvl2pPr marL="457182" indent="0" algn="ctr">
              <a:buNone/>
              <a:defRPr sz="2000"/>
            </a:lvl2pPr>
            <a:lvl3pPr marL="914363" indent="0" algn="ctr">
              <a:buNone/>
              <a:defRPr sz="1800"/>
            </a:lvl3pPr>
            <a:lvl4pPr marL="1371545" indent="0" algn="ctr">
              <a:buNone/>
              <a:defRPr sz="1600"/>
            </a:lvl4pPr>
            <a:lvl5pPr marL="1828727" indent="0" algn="ctr">
              <a:buNone/>
              <a:defRPr sz="1600"/>
            </a:lvl5pPr>
            <a:lvl6pPr marL="2285909" indent="0" algn="ctr">
              <a:buNone/>
              <a:defRPr sz="1600"/>
            </a:lvl6pPr>
            <a:lvl7pPr marL="2743090" indent="0" algn="ctr">
              <a:buNone/>
              <a:defRPr sz="1600"/>
            </a:lvl7pPr>
            <a:lvl8pPr marL="3200272" indent="0" algn="ctr">
              <a:buNone/>
              <a:defRPr sz="1600"/>
            </a:lvl8pPr>
            <a:lvl9pPr marL="3657454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435EFE49-716E-4BC2-9EFC-F6C4F62E78E1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" y="-118535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5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348629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med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bilde 6"/>
          <p:cNvSpPr>
            <a:spLocks noGrp="1"/>
          </p:cNvSpPr>
          <p:nvPr>
            <p:ph type="pic" sz="quarter" idx="10"/>
          </p:nvPr>
        </p:nvSpPr>
        <p:spPr>
          <a:xfrm>
            <a:off x="600076" y="900114"/>
            <a:ext cx="10966371" cy="5400675"/>
          </a:xfrm>
          <a:prstGeom prst="rect">
            <a:avLst/>
          </a:prstGeom>
          <a:solidFill>
            <a:srgbClr val="AAA09B"/>
          </a:solidFill>
        </p:spPr>
        <p:txBody>
          <a:bodyPr lIns="0" tIns="1980000" rIns="0" bIns="0" anchor="t" anchorCtr="1"/>
          <a:lstStyle>
            <a:lvl1pPr marL="0" indent="0">
              <a:buNone/>
              <a:defRPr sz="1500">
                <a:solidFill>
                  <a:schemeClr val="lt1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1050131" y="1350169"/>
            <a:ext cx="6150768" cy="692498"/>
          </a:xfrm>
          <a:noFill/>
        </p:spPr>
        <p:txBody>
          <a:bodyPr lIns="0" tIns="0" rIns="0" bIns="0" anchor="t">
            <a:spAutoFit/>
          </a:bodyPr>
          <a:lstStyle>
            <a:lvl1pPr algn="l">
              <a:lnSpc>
                <a:spcPct val="9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nb-NO"/>
              <a:t>Legg til tittel</a:t>
            </a:r>
          </a:p>
        </p:txBody>
      </p:sp>
      <p:pic>
        <p:nvPicPr>
          <p:cNvPr id="6" name="Bild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8363" y="379632"/>
            <a:ext cx="1595120" cy="325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8639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side med tekst og stort 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bilde 12">
            <a:extLst>
              <a:ext uri="{FF2B5EF4-FFF2-40B4-BE49-F238E27FC236}">
                <a16:creationId xmlns:a16="http://schemas.microsoft.com/office/drawing/2014/main" id="{9E8A3748-D9BC-4588-9124-CBF265D47AB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986654"/>
            <a:ext cx="12192000" cy="5886736"/>
          </a:xfrm>
          <a:custGeom>
            <a:avLst/>
            <a:gdLst>
              <a:gd name="connsiteX0" fmla="*/ 0 w 12192000"/>
              <a:gd name="connsiteY0" fmla="*/ 0 h 5886736"/>
              <a:gd name="connsiteX1" fmla="*/ 406400 w 12192000"/>
              <a:gd name="connsiteY1" fmla="*/ 0 h 5886736"/>
              <a:gd name="connsiteX2" fmla="*/ 406400 w 12192000"/>
              <a:gd name="connsiteY2" fmla="*/ 3953669 h 5886736"/>
              <a:gd name="connsiteX3" fmla="*/ 4470400 w 12192000"/>
              <a:gd name="connsiteY3" fmla="*/ 3953669 h 5886736"/>
              <a:gd name="connsiteX4" fmla="*/ 4470400 w 12192000"/>
              <a:gd name="connsiteY4" fmla="*/ 0 h 5886736"/>
              <a:gd name="connsiteX5" fmla="*/ 12192000 w 12192000"/>
              <a:gd name="connsiteY5" fmla="*/ 0 h 5886736"/>
              <a:gd name="connsiteX6" fmla="*/ 12192000 w 12192000"/>
              <a:gd name="connsiteY6" fmla="*/ 5886736 h 5886736"/>
              <a:gd name="connsiteX7" fmla="*/ 0 w 12192000"/>
              <a:gd name="connsiteY7" fmla="*/ 5886736 h 5886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5886736">
                <a:moveTo>
                  <a:pt x="0" y="0"/>
                </a:moveTo>
                <a:lnTo>
                  <a:pt x="406400" y="0"/>
                </a:lnTo>
                <a:lnTo>
                  <a:pt x="406400" y="3953669"/>
                </a:lnTo>
                <a:lnTo>
                  <a:pt x="4470400" y="3953669"/>
                </a:lnTo>
                <a:lnTo>
                  <a:pt x="4470400" y="0"/>
                </a:lnTo>
                <a:lnTo>
                  <a:pt x="12192000" y="0"/>
                </a:lnTo>
                <a:lnTo>
                  <a:pt x="12192000" y="5886736"/>
                </a:lnTo>
                <a:lnTo>
                  <a:pt x="0" y="5886736"/>
                </a:lnTo>
                <a:close/>
              </a:path>
            </a:pathLst>
          </a:cu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0D477F9B-9F58-4B5C-835B-EEB557C86025}"/>
              </a:ext>
            </a:extLst>
          </p:cNvPr>
          <p:cNvSpPr>
            <a:spLocks/>
          </p:cNvSpPr>
          <p:nvPr userDrawn="1"/>
        </p:nvSpPr>
        <p:spPr>
          <a:xfrm>
            <a:off x="406400" y="0"/>
            <a:ext cx="4064000" cy="49403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571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32A96FBF-2AD2-49E7-82B8-77F232A2D3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8513" y="3995789"/>
            <a:ext cx="3265487" cy="615553"/>
          </a:xfrm>
        </p:spPr>
        <p:txBody>
          <a:bodyPr wrap="square"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lt1"/>
                </a:solidFill>
              </a:defRPr>
            </a:lvl1pPr>
            <a:lvl2pPr marL="457182" indent="0" algn="ctr">
              <a:buNone/>
              <a:defRPr sz="2000"/>
            </a:lvl2pPr>
            <a:lvl3pPr marL="914363" indent="0" algn="ctr">
              <a:buNone/>
              <a:defRPr sz="1800"/>
            </a:lvl3pPr>
            <a:lvl4pPr marL="1371545" indent="0" algn="ctr">
              <a:buNone/>
              <a:defRPr sz="1600"/>
            </a:lvl4pPr>
            <a:lvl5pPr marL="1828727" indent="0" algn="ctr">
              <a:buNone/>
              <a:defRPr sz="1600"/>
            </a:lvl5pPr>
            <a:lvl6pPr marL="2285909" indent="0" algn="ctr">
              <a:buNone/>
              <a:defRPr sz="1600"/>
            </a:lvl6pPr>
            <a:lvl7pPr marL="2743090" indent="0" algn="ctr">
              <a:buNone/>
              <a:defRPr sz="1600"/>
            </a:lvl7pPr>
            <a:lvl8pPr marL="3200272" indent="0" algn="ctr">
              <a:buNone/>
              <a:defRPr sz="1600"/>
            </a:lvl8pPr>
            <a:lvl9pPr marL="3657454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EEA361D0-87B0-4C01-8535-BCAFFBF87541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" y="-118535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5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768FFDB9-DEC0-4ED2-AA73-EFDCD40205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6926" y="369794"/>
            <a:ext cx="3267075" cy="2991925"/>
          </a:xfrm>
        </p:spPr>
        <p:txBody>
          <a:bodyPr wrap="square" lIns="0" tIns="0" rIns="0" bIns="0" anchor="b">
            <a:noAutofit/>
          </a:bodyPr>
          <a:lstStyle>
            <a:lvl1pPr algn="l">
              <a:defRPr sz="38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tekst 2">
            <a:extLst>
              <a:ext uri="{FF2B5EF4-FFF2-40B4-BE49-F238E27FC236}">
                <a16:creationId xmlns:a16="http://schemas.microsoft.com/office/drawing/2014/main" id="{9BBF87C4-A7B5-134E-8831-50A2AE67C78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16200000">
            <a:off x="10166464" y="4851829"/>
            <a:ext cx="107722" cy="3649664"/>
          </a:xfrm>
        </p:spPr>
        <p:txBody>
          <a:bodyPr vert="vert">
            <a:spAutoFit/>
          </a:bodyPr>
          <a:lstStyle>
            <a:lvl1pPr marL="0" indent="0" algn="r">
              <a:buNone/>
              <a:defRPr lang="nb-NO" sz="700" b="0" i="0" u="none" strike="noStrike" smtClean="0">
                <a:effectLst/>
              </a:defRPr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av fotograf</a:t>
            </a:r>
          </a:p>
        </p:txBody>
      </p:sp>
    </p:spTree>
    <p:extLst>
      <p:ext uri="{BB962C8B-B14F-4D97-AF65-F5344CB8AC3E}">
        <p14:creationId xmlns:p14="http://schemas.microsoft.com/office/powerpoint/2010/main" val="42774371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74D9D44-98FA-4766-8341-8FC3D86332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00747B07-4572-40CF-B463-9CF5EBF58E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926" y="2413001"/>
            <a:ext cx="8763000" cy="3649664"/>
          </a:xfr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D869DCCC-FA35-4BC3-B401-3AF1C6FBDB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A852B1F4-6138-4225-A9A8-727786CA4CFA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C8BCE1B-16B5-4C51-BA48-E53851E99C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A2456F09-A299-4ECB-99F6-48D6F352DC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237823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6729766-028C-47E0-B4C0-A2A5CFB050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9AFA5423-2D6F-4DEB-BD8E-434061892E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7C01F237-A6AB-4B8D-8F87-3AF6EC629C80}" type="datetime1">
              <a:rPr lang="nb-NO" smtClean="0"/>
              <a:t>08.03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B91FCA3-AAB1-4942-A403-EB01037198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0F52D164-B8A5-4C80-8608-6FCB80F2E4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>
            <a:extLst>
              <a:ext uri="{FF2B5EF4-FFF2-40B4-BE49-F238E27FC236}">
                <a16:creationId xmlns:a16="http://schemas.microsoft.com/office/drawing/2014/main" id="{D4C05C0E-D386-4C2B-8D54-20A35582EA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925" y="2413001"/>
            <a:ext cx="5097462" cy="3649664"/>
          </a:xfr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5E1BB4FF-EB57-43DA-9720-67307DA703D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91264" y="2413001"/>
            <a:ext cx="5097462" cy="3649664"/>
          </a:xfr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32203014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med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6729766-028C-47E0-B4C0-A2A5CFB050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9AFA5423-2D6F-4DEB-BD8E-434061892E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DAE63A93-2561-4A89-A7E2-7BE8335815AC}" type="datetime1">
              <a:rPr lang="nb-NO" smtClean="0"/>
              <a:t>08.03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B91FCA3-AAB1-4942-A403-EB01037198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0F52D164-B8A5-4C80-8608-6FCB80F2E4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42886FD8-E3F1-4AF6-B1B3-56C5C0F27DF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00099" y="2413001"/>
            <a:ext cx="5097462" cy="3649664"/>
          </a:xfrm>
          <a:prstGeom prst="rect">
            <a:avLst/>
          </a:prstGeom>
          <a:solidFill>
            <a:schemeClr val="lt2"/>
          </a:solidFill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4" name="Plassholder for bilde 3">
            <a:extLst>
              <a:ext uri="{FF2B5EF4-FFF2-40B4-BE49-F238E27FC236}">
                <a16:creationId xmlns:a16="http://schemas.microsoft.com/office/drawing/2014/main" id="{19D6546F-BDA3-480D-81D5-6D1B8A13EFD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94438" y="2413001"/>
            <a:ext cx="5097462" cy="3649664"/>
          </a:xfrm>
          <a:prstGeom prst="rect">
            <a:avLst/>
          </a:prstGeom>
          <a:solidFill>
            <a:schemeClr val="lt2"/>
          </a:solidFill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8" name="Plassholder for tekst 2">
            <a:extLst>
              <a:ext uri="{FF2B5EF4-FFF2-40B4-BE49-F238E27FC236}">
                <a16:creationId xmlns:a16="http://schemas.microsoft.com/office/drawing/2014/main" id="{331544C7-6E4D-4FCE-B743-A772C08B1F9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56129" y="2413001"/>
            <a:ext cx="107722" cy="3649664"/>
          </a:xfrm>
        </p:spPr>
        <p:txBody>
          <a:bodyPr vert="vert">
            <a:spAutoFit/>
          </a:bodyPr>
          <a:lstStyle>
            <a:lvl1pPr marL="0" indent="0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</p:spTree>
    <p:extLst>
      <p:ext uri="{BB962C8B-B14F-4D97-AF65-F5344CB8AC3E}">
        <p14:creationId xmlns:p14="http://schemas.microsoft.com/office/powerpoint/2010/main" val="339111284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015AA92-CFF3-4A68-B2C4-B3E6548DB7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96925" y="2387601"/>
            <a:ext cx="5097462" cy="73866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2000" b="1"/>
            </a:lvl1pPr>
            <a:lvl2pPr marL="457182" indent="0">
              <a:buNone/>
              <a:defRPr sz="2000" b="1"/>
            </a:lvl2pPr>
            <a:lvl3pPr marL="914363" indent="0">
              <a:buNone/>
              <a:defRPr sz="1800" b="1"/>
            </a:lvl3pPr>
            <a:lvl4pPr marL="1371545" indent="0">
              <a:buNone/>
              <a:defRPr sz="1600" b="1"/>
            </a:lvl4pPr>
            <a:lvl5pPr marL="1828727" indent="0">
              <a:buNone/>
              <a:defRPr sz="1600" b="1"/>
            </a:lvl5pPr>
            <a:lvl6pPr marL="2285909" indent="0">
              <a:buNone/>
              <a:defRPr sz="1600" b="1"/>
            </a:lvl6pPr>
            <a:lvl7pPr marL="2743090" indent="0">
              <a:buNone/>
              <a:defRPr sz="1600" b="1"/>
            </a:lvl7pPr>
            <a:lvl8pPr marL="3200272" indent="0">
              <a:buNone/>
              <a:defRPr sz="1600" b="1"/>
            </a:lvl8pPr>
            <a:lvl9pPr marL="3657454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08B1DF3D-C6BE-4D4E-957F-C6DEF92025D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91264" y="2387601"/>
            <a:ext cx="5097462" cy="73866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2000" b="1"/>
            </a:lvl1pPr>
            <a:lvl2pPr marL="457182" indent="0">
              <a:buNone/>
              <a:defRPr sz="2000" b="1"/>
            </a:lvl2pPr>
            <a:lvl3pPr marL="914363" indent="0">
              <a:buNone/>
              <a:defRPr sz="1800" b="1"/>
            </a:lvl3pPr>
            <a:lvl4pPr marL="1371545" indent="0">
              <a:buNone/>
              <a:defRPr sz="1600" b="1"/>
            </a:lvl4pPr>
            <a:lvl5pPr marL="1828727" indent="0">
              <a:buNone/>
              <a:defRPr sz="1600" b="1"/>
            </a:lvl5pPr>
            <a:lvl6pPr marL="2285909" indent="0">
              <a:buNone/>
              <a:defRPr sz="1600" b="1"/>
            </a:lvl6pPr>
            <a:lvl7pPr marL="2743090" indent="0">
              <a:buNone/>
              <a:defRPr sz="1600" b="1"/>
            </a:lvl7pPr>
            <a:lvl8pPr marL="3200272" indent="0">
              <a:buNone/>
              <a:defRPr sz="1600" b="1"/>
            </a:lvl8pPr>
            <a:lvl9pPr marL="3657454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0CD12513-0937-438B-92B2-80ABB131DF2B}" type="datetime1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767CD8C-E6E1-47F7-A9B5-467CDD16F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864038"/>
            <a:ext cx="8763000" cy="1169551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1" name="Plassholder for innhold 2">
            <a:extLst>
              <a:ext uri="{FF2B5EF4-FFF2-40B4-BE49-F238E27FC236}">
                <a16:creationId xmlns:a16="http://schemas.microsoft.com/office/drawing/2014/main" id="{D1A5C7BA-CCD2-40AB-95E9-773DE7FB605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96925" y="3327401"/>
            <a:ext cx="5097462" cy="2735264"/>
          </a:xfr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A274A5EE-0306-47C8-95FA-9176D50FAB41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91264" y="3327401"/>
            <a:ext cx="5097462" cy="2735264"/>
          </a:xfr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45435871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2F26BDD0-8444-406F-A543-4E312E51B5A4}" type="datetime1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767CD8C-E6E1-47F7-A9B5-467CDD16F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864038"/>
            <a:ext cx="5097462" cy="1169551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3" name="Plassholder for bilde 3">
            <a:extLst>
              <a:ext uri="{FF2B5EF4-FFF2-40B4-BE49-F238E27FC236}">
                <a16:creationId xmlns:a16="http://schemas.microsoft.com/office/drawing/2014/main" id="{B5A1E56D-AE99-4789-B24D-61210A3F24F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97614" y="976313"/>
            <a:ext cx="5894385" cy="5086351"/>
          </a:xfrm>
          <a:prstGeom prst="rect">
            <a:avLst/>
          </a:prstGeom>
          <a:solidFill>
            <a:schemeClr val="lt2"/>
          </a:solidFill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2F76D602-75E9-486D-9F94-3D7511C622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925" y="2413001"/>
            <a:ext cx="5097462" cy="3649664"/>
          </a:xfr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2">
            <a:extLst>
              <a:ext uri="{FF2B5EF4-FFF2-40B4-BE49-F238E27FC236}">
                <a16:creationId xmlns:a16="http://schemas.microsoft.com/office/drawing/2014/main" id="{55A6CEE8-9BD3-4F79-BFFB-FCCC2C74836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24843" y="1412460"/>
            <a:ext cx="107722" cy="4543926"/>
          </a:xfrm>
        </p:spPr>
        <p:txBody>
          <a:bodyPr vert="vert">
            <a:spAutoFit/>
          </a:bodyPr>
          <a:lstStyle>
            <a:lvl1pPr marL="0" indent="0" algn="r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</p:spTree>
    <p:extLst>
      <p:ext uri="{BB962C8B-B14F-4D97-AF65-F5344CB8AC3E}">
        <p14:creationId xmlns:p14="http://schemas.microsoft.com/office/powerpoint/2010/main" val="427275676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F0D09085-7D4B-4E10-9C99-B8BD245DBFE6}" type="datetime1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767CD8C-E6E1-47F7-A9B5-467CDD16F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4" y="864038"/>
            <a:ext cx="6931025" cy="1169551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3" name="Plassholder for bilde 3">
            <a:extLst>
              <a:ext uri="{FF2B5EF4-FFF2-40B4-BE49-F238E27FC236}">
                <a16:creationId xmlns:a16="http://schemas.microsoft.com/office/drawing/2014/main" id="{B5A1E56D-AE99-4789-B24D-61210A3F24F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23239" y="976313"/>
            <a:ext cx="4068762" cy="5086351"/>
          </a:xfrm>
          <a:prstGeom prst="rect">
            <a:avLst/>
          </a:prstGeom>
          <a:solidFill>
            <a:schemeClr val="lt2"/>
          </a:solidFill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2F76D602-75E9-486D-9F94-3D7511C622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924" y="2413001"/>
            <a:ext cx="6931025" cy="3649664"/>
          </a:xfr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2">
            <a:extLst>
              <a:ext uri="{FF2B5EF4-FFF2-40B4-BE49-F238E27FC236}">
                <a16:creationId xmlns:a16="http://schemas.microsoft.com/office/drawing/2014/main" id="{9BE31FBC-3E87-4906-8AF2-8C42F3A72D5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24843" y="1412460"/>
            <a:ext cx="107722" cy="4543926"/>
          </a:xfrm>
        </p:spPr>
        <p:txBody>
          <a:bodyPr vert="vert">
            <a:spAutoFit/>
          </a:bodyPr>
          <a:lstStyle>
            <a:lvl1pPr marL="0" indent="0" algn="r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</p:spTree>
    <p:extLst>
      <p:ext uri="{BB962C8B-B14F-4D97-AF65-F5344CB8AC3E}">
        <p14:creationId xmlns:p14="http://schemas.microsoft.com/office/powerpoint/2010/main" val="15207281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bild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50532F98-8284-484E-8BF4-A5270B91B9B5}" type="datetime1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767CD8C-E6E1-47F7-A9B5-467CDD16F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976313"/>
            <a:ext cx="3267076" cy="1057275"/>
          </a:xfrm>
        </p:spPr>
        <p:txBody>
          <a:bodyPr lIns="0" tIns="0" rIns="0" bIns="0"/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Plassholder for bilde 3">
            <a:extLst>
              <a:ext uri="{FF2B5EF4-FFF2-40B4-BE49-F238E27FC236}">
                <a16:creationId xmlns:a16="http://schemas.microsoft.com/office/drawing/2014/main" id="{B5A1E56D-AE99-4789-B24D-61210A3F24F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59288" y="976313"/>
            <a:ext cx="7732712" cy="5086351"/>
          </a:xfrm>
          <a:prstGeom prst="rect">
            <a:avLst/>
          </a:prstGeom>
          <a:solidFill>
            <a:schemeClr val="lt2"/>
          </a:solidFill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2F76D602-75E9-486D-9F94-3D7511C622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925" y="2413001"/>
            <a:ext cx="3267076" cy="3649664"/>
          </a:xfr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2">
            <a:extLst>
              <a:ext uri="{FF2B5EF4-FFF2-40B4-BE49-F238E27FC236}">
                <a16:creationId xmlns:a16="http://schemas.microsoft.com/office/drawing/2014/main" id="{0B37DE26-D1C3-4958-AAD0-4B083C57A7A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24843" y="1412460"/>
            <a:ext cx="107722" cy="4543926"/>
          </a:xfrm>
        </p:spPr>
        <p:txBody>
          <a:bodyPr vert="vert">
            <a:spAutoFit/>
          </a:bodyPr>
          <a:lstStyle>
            <a:lvl1pPr marL="0" indent="0" algn="r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</p:spTree>
    <p:extLst>
      <p:ext uri="{BB962C8B-B14F-4D97-AF65-F5344CB8AC3E}">
        <p14:creationId xmlns:p14="http://schemas.microsoft.com/office/powerpoint/2010/main" val="12577212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015AA92-CFF3-4A68-B2C4-B3E6548DB7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96925" y="2387601"/>
            <a:ext cx="5097462" cy="73866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2000" b="1"/>
            </a:lvl1pPr>
            <a:lvl2pPr marL="457182" indent="0">
              <a:buNone/>
              <a:defRPr sz="2000" b="1"/>
            </a:lvl2pPr>
            <a:lvl3pPr marL="914363" indent="0">
              <a:buNone/>
              <a:defRPr sz="1800" b="1"/>
            </a:lvl3pPr>
            <a:lvl4pPr marL="1371545" indent="0">
              <a:buNone/>
              <a:defRPr sz="1600" b="1"/>
            </a:lvl4pPr>
            <a:lvl5pPr marL="1828727" indent="0">
              <a:buNone/>
              <a:defRPr sz="1600" b="1"/>
            </a:lvl5pPr>
            <a:lvl6pPr marL="2285909" indent="0">
              <a:buNone/>
              <a:defRPr sz="1600" b="1"/>
            </a:lvl6pPr>
            <a:lvl7pPr marL="2743090" indent="0">
              <a:buNone/>
              <a:defRPr sz="1600" b="1"/>
            </a:lvl7pPr>
            <a:lvl8pPr marL="3200272" indent="0">
              <a:buNone/>
              <a:defRPr sz="1600" b="1"/>
            </a:lvl8pPr>
            <a:lvl9pPr marL="3657454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8910D29F-BF1C-499C-865B-AE569007ACDD}" type="datetime1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767CD8C-E6E1-47F7-A9B5-467CDD16F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864038"/>
            <a:ext cx="5097462" cy="1169551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1" name="Plassholder for innhold 2">
            <a:extLst>
              <a:ext uri="{FF2B5EF4-FFF2-40B4-BE49-F238E27FC236}">
                <a16:creationId xmlns:a16="http://schemas.microsoft.com/office/drawing/2014/main" id="{D1A5C7BA-CCD2-40AB-95E9-773DE7FB605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96925" y="3327401"/>
            <a:ext cx="5097462" cy="2735264"/>
          </a:xfr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3" name="Plassholder for bilde 3">
            <a:extLst>
              <a:ext uri="{FF2B5EF4-FFF2-40B4-BE49-F238E27FC236}">
                <a16:creationId xmlns:a16="http://schemas.microsoft.com/office/drawing/2014/main" id="{B5A1E56D-AE99-4789-B24D-61210A3F24F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97614" y="976313"/>
            <a:ext cx="5894385" cy="5086351"/>
          </a:xfrm>
          <a:prstGeom prst="rect">
            <a:avLst/>
          </a:prstGeom>
          <a:solidFill>
            <a:schemeClr val="lt2"/>
          </a:solidFill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2" name="Plassholder for tekst 2">
            <a:extLst>
              <a:ext uri="{FF2B5EF4-FFF2-40B4-BE49-F238E27FC236}">
                <a16:creationId xmlns:a16="http://schemas.microsoft.com/office/drawing/2014/main" id="{FF8DB92C-8780-4508-8B81-50F70170913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24843" y="1412460"/>
            <a:ext cx="107722" cy="4543926"/>
          </a:xfrm>
        </p:spPr>
        <p:txBody>
          <a:bodyPr vert="vert">
            <a:spAutoFit/>
          </a:bodyPr>
          <a:lstStyle>
            <a:lvl1pPr marL="0" indent="0" algn="r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</p:spTree>
    <p:extLst>
      <p:ext uri="{BB962C8B-B14F-4D97-AF65-F5344CB8AC3E}">
        <p14:creationId xmlns:p14="http://schemas.microsoft.com/office/powerpoint/2010/main" val="282413698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E0B51F30-4B04-4CED-95D8-06D381065EE3}" type="datetime1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767CD8C-E6E1-47F7-A9B5-467CDD16F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864038"/>
            <a:ext cx="8763000" cy="584775"/>
          </a:xfrm>
        </p:spPr>
        <p:txBody>
          <a:bodyPr lIns="0" tIns="0" rIns="0" bIns="0" anchor="t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4" name="Plassholder for bilde 3">
            <a:extLst>
              <a:ext uri="{FF2B5EF4-FFF2-40B4-BE49-F238E27FC236}">
                <a16:creationId xmlns:a16="http://schemas.microsoft.com/office/drawing/2014/main" id="{13A60648-8934-4097-B0A8-3EAAC644EE1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96926" y="1931822"/>
            <a:ext cx="10594975" cy="4130842"/>
          </a:xfrm>
          <a:prstGeom prst="rect">
            <a:avLst/>
          </a:prstGeom>
          <a:solidFill>
            <a:schemeClr val="lt2"/>
          </a:solidFill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D1728619-46BA-4E25-9B80-6EE5C107EB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56129" y="1931821"/>
            <a:ext cx="107722" cy="4130842"/>
          </a:xfrm>
        </p:spPr>
        <p:txBody>
          <a:bodyPr vert="vert">
            <a:spAutoFit/>
          </a:bodyPr>
          <a:lstStyle>
            <a:lvl1pPr marL="0" indent="0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</p:spTree>
    <p:extLst>
      <p:ext uri="{BB962C8B-B14F-4D97-AF65-F5344CB8AC3E}">
        <p14:creationId xmlns:p14="http://schemas.microsoft.com/office/powerpoint/2010/main" val="12635923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72085" y="900113"/>
            <a:ext cx="10849356" cy="5400675"/>
          </a:xfrm>
          <a:solidFill>
            <a:srgbClr val="AAA09B"/>
          </a:solidFill>
        </p:spPr>
        <p:txBody>
          <a:bodyPr lIns="540000" tIns="540000" rIns="5040000" bIns="2448000" anchor="t">
            <a:normAutofit/>
          </a:bodyPr>
          <a:lstStyle>
            <a:lvl1pPr>
              <a:lnSpc>
                <a:spcPct val="90000"/>
              </a:lnSpc>
              <a:defRPr sz="4167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dato 7"/>
          <p:cNvSpPr>
            <a:spLocks noGrp="1"/>
          </p:cNvSpPr>
          <p:nvPr>
            <p:ph type="dt" sz="half" idx="10"/>
          </p:nvPr>
        </p:nvSpPr>
        <p:spPr>
          <a:xfrm>
            <a:off x="1080136" y="5550694"/>
            <a:ext cx="840105" cy="270033"/>
          </a:xfrm>
        </p:spPr>
        <p:txBody>
          <a:bodyPr/>
          <a:lstStyle>
            <a:lvl1pPr>
              <a:defRPr sz="1333">
                <a:solidFill>
                  <a:schemeClr val="bg1"/>
                </a:solidFill>
              </a:defRPr>
            </a:lvl1pPr>
          </a:lstStyle>
          <a:p>
            <a:fld id="{983651F3-9B16-40C6-B209-3688FC9C95F6}" type="datetimeFigureOut">
              <a:rPr lang="nb-NO" smtClean="0"/>
              <a:pPr/>
              <a:t>08.03.2023</a:t>
            </a:fld>
            <a:endParaRPr lang="nb-NO"/>
          </a:p>
        </p:txBody>
      </p:sp>
      <p:sp>
        <p:nvSpPr>
          <p:cNvPr id="9" name="Plassholder for bunntekst 8"/>
          <p:cNvSpPr>
            <a:spLocks noGrp="1"/>
          </p:cNvSpPr>
          <p:nvPr>
            <p:ph type="ftr" sz="quarter" idx="11"/>
          </p:nvPr>
        </p:nvSpPr>
        <p:spPr>
          <a:xfrm>
            <a:off x="2100263" y="5550694"/>
            <a:ext cx="4200525" cy="270033"/>
          </a:xfrm>
        </p:spPr>
        <p:txBody>
          <a:bodyPr>
            <a:normAutofit/>
          </a:bodyPr>
          <a:lstStyle>
            <a:lvl1pPr>
              <a:defRPr sz="1333">
                <a:solidFill>
                  <a:schemeClr val="bg1"/>
                </a:solidFill>
              </a:defRPr>
            </a:lvl1pPr>
          </a:lstStyle>
          <a:p>
            <a:r>
              <a:rPr lang="nb-NO"/>
              <a:t>Navn </a:t>
            </a:r>
            <a:r>
              <a:rPr lang="nb-NO" err="1"/>
              <a:t>Navnesen</a:t>
            </a:r>
            <a:r>
              <a:rPr lang="nb-NO"/>
              <a:t> og sted</a:t>
            </a:r>
          </a:p>
        </p:txBody>
      </p:sp>
      <p:sp>
        <p:nvSpPr>
          <p:cNvPr id="10" name="Plassholder for lysbildenummer 9"/>
          <p:cNvSpPr>
            <a:spLocks noGrp="1"/>
          </p:cNvSpPr>
          <p:nvPr>
            <p:ph type="sldNum" sz="quarter" idx="12"/>
          </p:nvPr>
        </p:nvSpPr>
        <p:spPr>
          <a:xfrm>
            <a:off x="11233405" y="6401050"/>
            <a:ext cx="288036" cy="184666"/>
          </a:xfrm>
        </p:spPr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8363" y="379632"/>
            <a:ext cx="1595120" cy="325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02787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side med kun titte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2EA38832-0BFF-B141-8DEA-3ABA4C0DEF7B}"/>
              </a:ext>
            </a:extLst>
          </p:cNvPr>
          <p:cNvSpPr/>
          <p:nvPr userDrawn="1"/>
        </p:nvSpPr>
        <p:spPr>
          <a:xfrm>
            <a:off x="7734928" y="-11723"/>
            <a:ext cx="4467600" cy="6876000"/>
          </a:xfrm>
          <a:prstGeom prst="rect">
            <a:avLst/>
          </a:prstGeom>
          <a:solidFill>
            <a:schemeClr val="lt1"/>
          </a:solidFill>
          <a:ln w="12700" cap="flat" cmpd="sng" algn="ctr">
            <a:solidFill>
              <a:schemeClr val="accent1">
                <a:lumMod val="100000"/>
                <a:shade val="50000"/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571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6B81A321-9273-48AB-9354-A60166B59A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6925" y="2222499"/>
            <a:ext cx="5099050" cy="3840163"/>
          </a:xfrm>
        </p:spPr>
        <p:txBody>
          <a:bodyPr wrap="square" lIns="0" tIns="0" rIns="0" bIns="0" anchor="t">
            <a:noAutofit/>
          </a:bodyPr>
          <a:lstStyle>
            <a:lvl1pPr algn="l">
              <a:defRPr sz="380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7B98F3BF-61B5-204E-A801-FADFF39059DD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6766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43432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side med dekor blå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711D1A4-C7C4-41B6-A20A-E04C3D11A5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09AD0F42-88F7-4426-8B24-A2C24B047AD9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55B6032-7D05-4D83-8FF2-DBCDFB87B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" y="-149313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81243BF-36D7-45B2-9C81-EB43C04D2E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49313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6B81A321-9273-48AB-9354-A60166B59A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23238" y="2222499"/>
            <a:ext cx="3265488" cy="3840163"/>
          </a:xfrm>
        </p:spPr>
        <p:txBody>
          <a:bodyPr wrap="square" lIns="0" tIns="0" rIns="0" bIns="0" anchor="t">
            <a:noAutofit/>
          </a:bodyPr>
          <a:lstStyle>
            <a:lvl1pPr algn="l">
              <a:defRPr sz="3800">
                <a:solidFill>
                  <a:schemeClr val="dk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8" descr="Et bilde som inneholder tekst&#10;&#10;Automatisk generert beskrivelse">
            <a:extLst>
              <a:ext uri="{FF2B5EF4-FFF2-40B4-BE49-F238E27FC236}">
                <a16:creationId xmlns:a16="http://schemas.microsoft.com/office/drawing/2014/main" id="{1CF77BC4-34AA-4675-BE55-234304E21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732776" cy="6858000"/>
          </a:xfrm>
          <a:prstGeom prst="rect">
            <a:avLst/>
          </a:prstGeom>
        </p:spPr>
      </p:pic>
      <p:pic>
        <p:nvPicPr>
          <p:cNvPr id="10" name="Grafikk 9">
            <a:extLst>
              <a:ext uri="{FF2B5EF4-FFF2-40B4-BE49-F238E27FC236}">
                <a16:creationId xmlns:a16="http://schemas.microsoft.com/office/drawing/2014/main" id="{83688B5B-08F8-FA49-95AB-92CF82DF886B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6766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957359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bilde 12">
            <a:extLst>
              <a:ext uri="{FF2B5EF4-FFF2-40B4-BE49-F238E27FC236}">
                <a16:creationId xmlns:a16="http://schemas.microsoft.com/office/drawing/2014/main" id="{9E8A3748-D9BC-4588-9124-CBF265D47AB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400" y="976313"/>
            <a:ext cx="3671290" cy="2485175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0C150E18-AA93-43E3-AC46-77D640A04D5A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" y="-118535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5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5" name="Plassholder for bilde 9">
            <a:extLst>
              <a:ext uri="{FF2B5EF4-FFF2-40B4-BE49-F238E27FC236}">
                <a16:creationId xmlns:a16="http://schemas.microsoft.com/office/drawing/2014/main" id="{B6AF3DD8-E45D-4380-89B6-AF13DBE2E7A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06400" y="3606933"/>
            <a:ext cx="3671290" cy="2869415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1" name="Plassholder for bilde 9">
            <a:extLst>
              <a:ext uri="{FF2B5EF4-FFF2-40B4-BE49-F238E27FC236}">
                <a16:creationId xmlns:a16="http://schemas.microsoft.com/office/drawing/2014/main" id="{15DF30A0-9F84-452A-A444-45F063653C3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46587" y="976313"/>
            <a:ext cx="3701262" cy="5500035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2" name="Plassholder for bilde 10">
            <a:extLst>
              <a:ext uri="{FF2B5EF4-FFF2-40B4-BE49-F238E27FC236}">
                <a16:creationId xmlns:a16="http://schemas.microsoft.com/office/drawing/2014/main" id="{526789EA-E13E-48A6-BBE3-130F44F5D27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15092" y="976314"/>
            <a:ext cx="3670509" cy="3056119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8" name="Plassholder for bilde 13">
            <a:extLst>
              <a:ext uri="{FF2B5EF4-FFF2-40B4-BE49-F238E27FC236}">
                <a16:creationId xmlns:a16="http://schemas.microsoft.com/office/drawing/2014/main" id="{D541F21A-E060-4545-9758-1ADA5E8A9E3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092" y="4215085"/>
            <a:ext cx="3665747" cy="2261263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4" name="Plassholder for tekst 2">
            <a:extLst>
              <a:ext uri="{FF2B5EF4-FFF2-40B4-BE49-F238E27FC236}">
                <a16:creationId xmlns:a16="http://schemas.microsoft.com/office/drawing/2014/main" id="{EDAC5FE1-F477-4417-B183-216CDB7FFF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57468" y="976313"/>
            <a:ext cx="107722" cy="5500035"/>
          </a:xfrm>
        </p:spPr>
        <p:txBody>
          <a:bodyPr vert="vert" wrap="square">
            <a:spAutoFit/>
          </a:bodyPr>
          <a:lstStyle>
            <a:lvl1pPr marL="0" indent="0" algn="l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  <p:pic>
        <p:nvPicPr>
          <p:cNvPr id="16" name="Grafikk 15">
            <a:extLst>
              <a:ext uri="{FF2B5EF4-FFF2-40B4-BE49-F238E27FC236}">
                <a16:creationId xmlns:a16="http://schemas.microsoft.com/office/drawing/2014/main" id="{E8FAE8B1-32ED-5C4A-AA20-DC08D54EF6BE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6766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880046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FD02CBD6-E0D6-437A-B3ED-7511445B7987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" y="-118535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5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5" name="Plassholder for bilde 9">
            <a:extLst>
              <a:ext uri="{FF2B5EF4-FFF2-40B4-BE49-F238E27FC236}">
                <a16:creationId xmlns:a16="http://schemas.microsoft.com/office/drawing/2014/main" id="{B6AF3DD8-E45D-4380-89B6-AF13DBE2E7A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250727" y="976313"/>
            <a:ext cx="7530112" cy="2664965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6" name="Plassholder for bilde 9">
            <a:extLst>
              <a:ext uri="{FF2B5EF4-FFF2-40B4-BE49-F238E27FC236}">
                <a16:creationId xmlns:a16="http://schemas.microsoft.com/office/drawing/2014/main" id="{60C59660-6576-47AC-AB0D-A04DB9B8FAB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250726" y="3828467"/>
            <a:ext cx="3697374" cy="2647879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1" name="Plassholder for bilde 9">
            <a:extLst>
              <a:ext uri="{FF2B5EF4-FFF2-40B4-BE49-F238E27FC236}">
                <a16:creationId xmlns:a16="http://schemas.microsoft.com/office/drawing/2014/main" id="{8A8E1D40-0565-408A-B029-F0A20B771F3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113230" y="3828466"/>
            <a:ext cx="3667609" cy="2647879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20" name="Plassholder for bilde 12">
            <a:extLst>
              <a:ext uri="{FF2B5EF4-FFF2-40B4-BE49-F238E27FC236}">
                <a16:creationId xmlns:a16="http://schemas.microsoft.com/office/drawing/2014/main" id="{BD103718-D9CD-43DD-812C-E66A6998356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400" y="976314"/>
            <a:ext cx="3671290" cy="5500034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0" name="Plassholder for tekst 2">
            <a:extLst>
              <a:ext uri="{FF2B5EF4-FFF2-40B4-BE49-F238E27FC236}">
                <a16:creationId xmlns:a16="http://schemas.microsoft.com/office/drawing/2014/main" id="{9D18FA0C-C228-4F44-82C8-F0AEBBED9B6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57468" y="976313"/>
            <a:ext cx="107722" cy="5500035"/>
          </a:xfrm>
        </p:spPr>
        <p:txBody>
          <a:bodyPr vert="vert" wrap="square">
            <a:spAutoFit/>
          </a:bodyPr>
          <a:lstStyle>
            <a:lvl1pPr marL="0" indent="0" algn="l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  <p:pic>
        <p:nvPicPr>
          <p:cNvPr id="13" name="Grafikk 12">
            <a:extLst>
              <a:ext uri="{FF2B5EF4-FFF2-40B4-BE49-F238E27FC236}">
                <a16:creationId xmlns:a16="http://schemas.microsoft.com/office/drawing/2014/main" id="{9B145B0F-189F-DA43-B9D2-107B5875D370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6766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66375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352F1F83-84DB-401C-8D12-940686D604DF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" y="-118535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5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Plassholder for bilde 12">
            <a:extLst>
              <a:ext uri="{FF2B5EF4-FFF2-40B4-BE49-F238E27FC236}">
                <a16:creationId xmlns:a16="http://schemas.microsoft.com/office/drawing/2014/main" id="{EE68CC7D-AA5C-4399-BA6B-E5EBFF4DB48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400" y="976314"/>
            <a:ext cx="5603340" cy="5500034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2" name="Plassholder for bilde 12">
            <a:extLst>
              <a:ext uri="{FF2B5EF4-FFF2-40B4-BE49-F238E27FC236}">
                <a16:creationId xmlns:a16="http://schemas.microsoft.com/office/drawing/2014/main" id="{38118730-7423-4715-8302-6A6FCBEE598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82262" y="976314"/>
            <a:ext cx="5603340" cy="5500034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9" name="Plassholder for tekst 2">
            <a:extLst>
              <a:ext uri="{FF2B5EF4-FFF2-40B4-BE49-F238E27FC236}">
                <a16:creationId xmlns:a16="http://schemas.microsoft.com/office/drawing/2014/main" id="{43924911-BEA6-4E57-BF82-1AF6C36DBB2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57468" y="976313"/>
            <a:ext cx="107722" cy="5500035"/>
          </a:xfrm>
        </p:spPr>
        <p:txBody>
          <a:bodyPr vert="vert" wrap="square">
            <a:spAutoFit/>
          </a:bodyPr>
          <a:lstStyle>
            <a:lvl1pPr marL="0" indent="0" algn="l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86ECAC1C-5713-E146-A144-378A1359694C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6766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83468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tt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1A638D09-8691-4371-A556-A09705D5D536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" y="-118535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5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Plassholder for bilde 12">
            <a:extLst>
              <a:ext uri="{FF2B5EF4-FFF2-40B4-BE49-F238E27FC236}">
                <a16:creationId xmlns:a16="http://schemas.microsoft.com/office/drawing/2014/main" id="{0D544DBE-4338-44E3-A81D-6B4E650A7A6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400" y="976314"/>
            <a:ext cx="11374438" cy="5500034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C81084AF-41EE-488F-A708-C8CAD2EA5E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57468" y="976313"/>
            <a:ext cx="107722" cy="5500035"/>
          </a:xfrm>
        </p:spPr>
        <p:txBody>
          <a:bodyPr vert="vert" wrap="square">
            <a:spAutoFit/>
          </a:bodyPr>
          <a:lstStyle>
            <a:lvl1pPr marL="0" indent="0" algn="l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0AAED46D-CB9C-AF40-AD84-A77B11F753B8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6766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486141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jul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015AA92-CFF3-4A68-B2C4-B3E6548DB70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96927" y="1884681"/>
            <a:ext cx="2688585" cy="307777"/>
          </a:xfr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2000" b="1"/>
            </a:lvl1pPr>
            <a:lvl2pPr marL="457182" indent="0">
              <a:buNone/>
              <a:defRPr sz="2000" b="1"/>
            </a:lvl2pPr>
            <a:lvl3pPr marL="914363" indent="0">
              <a:buNone/>
              <a:defRPr sz="1800" b="1"/>
            </a:lvl3pPr>
            <a:lvl4pPr marL="1371545" indent="0">
              <a:buNone/>
              <a:defRPr sz="1600" b="1"/>
            </a:lvl4pPr>
            <a:lvl5pPr marL="1828727" indent="0">
              <a:buNone/>
              <a:defRPr sz="1600" b="1"/>
            </a:lvl5pPr>
            <a:lvl6pPr marL="2285909" indent="0">
              <a:buNone/>
              <a:defRPr sz="1600" b="1"/>
            </a:lvl6pPr>
            <a:lvl7pPr marL="2743090" indent="0">
              <a:buNone/>
              <a:defRPr sz="1600" b="1"/>
            </a:lvl7pPr>
            <a:lvl8pPr marL="3200272" indent="0">
              <a:buNone/>
              <a:defRPr sz="1600" b="1"/>
            </a:lvl8pPr>
            <a:lvl9pPr marL="3657454" indent="0">
              <a:buNone/>
              <a:defRPr sz="1600" b="1"/>
            </a:lvl9pPr>
          </a:lstStyle>
          <a:p>
            <a:pPr lvl="0"/>
            <a:r>
              <a:rPr lang="nb-NO"/>
              <a:t>Mellomtittel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B5E21243-0A53-4B5E-8D26-9A5A7EC3969A}" type="datetime1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767CD8C-E6E1-47F7-A9B5-467CDD16F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864038"/>
            <a:ext cx="8763000" cy="584775"/>
          </a:xfrm>
        </p:spPr>
        <p:txBody>
          <a:bodyPr lIns="0" tIns="0" rIns="0" bIns="0" anchor="t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1" name="Plassholder for innhold 2">
            <a:extLst>
              <a:ext uri="{FF2B5EF4-FFF2-40B4-BE49-F238E27FC236}">
                <a16:creationId xmlns:a16="http://schemas.microsoft.com/office/drawing/2014/main" id="{D1A5C7BA-CCD2-40AB-95E9-773DE7FB605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96927" y="2202181"/>
            <a:ext cx="2688585" cy="1484034"/>
          </a:xfr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tekst 2">
            <a:extLst>
              <a:ext uri="{FF2B5EF4-FFF2-40B4-BE49-F238E27FC236}">
                <a16:creationId xmlns:a16="http://schemas.microsoft.com/office/drawing/2014/main" id="{A9A60586-33CD-4C12-BD20-BB7CB6F21AC8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796927" y="4265891"/>
            <a:ext cx="2688585" cy="307777"/>
          </a:xfr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2000" b="1"/>
            </a:lvl1pPr>
            <a:lvl2pPr marL="457182" indent="0">
              <a:buNone/>
              <a:defRPr sz="2000" b="1"/>
            </a:lvl2pPr>
            <a:lvl3pPr marL="914363" indent="0">
              <a:buNone/>
              <a:defRPr sz="1800" b="1"/>
            </a:lvl3pPr>
            <a:lvl4pPr marL="1371545" indent="0">
              <a:buNone/>
              <a:defRPr sz="1600" b="1"/>
            </a:lvl4pPr>
            <a:lvl5pPr marL="1828727" indent="0">
              <a:buNone/>
              <a:defRPr sz="1600" b="1"/>
            </a:lvl5pPr>
            <a:lvl6pPr marL="2285909" indent="0">
              <a:buNone/>
              <a:defRPr sz="1600" b="1"/>
            </a:lvl6pPr>
            <a:lvl7pPr marL="2743090" indent="0">
              <a:buNone/>
              <a:defRPr sz="1600" b="1"/>
            </a:lvl7pPr>
            <a:lvl8pPr marL="3200272" indent="0">
              <a:buNone/>
              <a:defRPr sz="1600" b="1"/>
            </a:lvl8pPr>
            <a:lvl9pPr marL="3657454" indent="0">
              <a:buNone/>
              <a:defRPr sz="1600" b="1"/>
            </a:lvl9pPr>
          </a:lstStyle>
          <a:p>
            <a:pPr lvl="0"/>
            <a:r>
              <a:rPr lang="nb-NO"/>
              <a:t>Mellomtittel</a:t>
            </a:r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2C109AC8-F42F-45B9-9DF9-AE98BCB84EED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796927" y="4583391"/>
            <a:ext cx="2688585" cy="1484034"/>
          </a:xfr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8" name="Plassholder for tekst 2">
            <a:extLst>
              <a:ext uri="{FF2B5EF4-FFF2-40B4-BE49-F238E27FC236}">
                <a16:creationId xmlns:a16="http://schemas.microsoft.com/office/drawing/2014/main" id="{9474D08C-07FB-4270-9741-F3F245E9DC5A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700136" y="1884681"/>
            <a:ext cx="2688585" cy="307777"/>
          </a:xfr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2000" b="1"/>
            </a:lvl1pPr>
            <a:lvl2pPr marL="457182" indent="0">
              <a:buNone/>
              <a:defRPr sz="2000" b="1"/>
            </a:lvl2pPr>
            <a:lvl3pPr marL="914363" indent="0">
              <a:buNone/>
              <a:defRPr sz="1800" b="1"/>
            </a:lvl3pPr>
            <a:lvl4pPr marL="1371545" indent="0">
              <a:buNone/>
              <a:defRPr sz="1600" b="1"/>
            </a:lvl4pPr>
            <a:lvl5pPr marL="1828727" indent="0">
              <a:buNone/>
              <a:defRPr sz="1600" b="1"/>
            </a:lvl5pPr>
            <a:lvl6pPr marL="2285909" indent="0">
              <a:buNone/>
              <a:defRPr sz="1600" b="1"/>
            </a:lvl6pPr>
            <a:lvl7pPr marL="2743090" indent="0">
              <a:buNone/>
              <a:defRPr sz="1600" b="1"/>
            </a:lvl7pPr>
            <a:lvl8pPr marL="3200272" indent="0">
              <a:buNone/>
              <a:defRPr sz="1600" b="1"/>
            </a:lvl8pPr>
            <a:lvl9pPr marL="3657454" indent="0">
              <a:buNone/>
              <a:defRPr sz="1600" b="1"/>
            </a:lvl9pPr>
          </a:lstStyle>
          <a:p>
            <a:pPr lvl="0"/>
            <a:r>
              <a:rPr lang="nb-NO"/>
              <a:t>Mellomtittel</a:t>
            </a:r>
          </a:p>
        </p:txBody>
      </p:sp>
      <p:sp>
        <p:nvSpPr>
          <p:cNvPr id="19" name="Plassholder for innhold 2">
            <a:extLst>
              <a:ext uri="{FF2B5EF4-FFF2-40B4-BE49-F238E27FC236}">
                <a16:creationId xmlns:a16="http://schemas.microsoft.com/office/drawing/2014/main" id="{E69F2686-45C5-4D95-9EAF-D46D534ED3D5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8700136" y="2202181"/>
            <a:ext cx="2688585" cy="1484034"/>
          </a:xfr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0" name="Plassholder for tekst 2">
            <a:extLst>
              <a:ext uri="{FF2B5EF4-FFF2-40B4-BE49-F238E27FC236}">
                <a16:creationId xmlns:a16="http://schemas.microsoft.com/office/drawing/2014/main" id="{3FF69A63-78FB-49C5-852E-1C7559E69BF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8700136" y="4265891"/>
            <a:ext cx="2688585" cy="307777"/>
          </a:xfr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2000" b="1"/>
            </a:lvl1pPr>
            <a:lvl2pPr marL="457182" indent="0">
              <a:buNone/>
              <a:defRPr sz="2000" b="1"/>
            </a:lvl2pPr>
            <a:lvl3pPr marL="914363" indent="0">
              <a:buNone/>
              <a:defRPr sz="1800" b="1"/>
            </a:lvl3pPr>
            <a:lvl4pPr marL="1371545" indent="0">
              <a:buNone/>
              <a:defRPr sz="1600" b="1"/>
            </a:lvl4pPr>
            <a:lvl5pPr marL="1828727" indent="0">
              <a:buNone/>
              <a:defRPr sz="1600" b="1"/>
            </a:lvl5pPr>
            <a:lvl6pPr marL="2285909" indent="0">
              <a:buNone/>
              <a:defRPr sz="1600" b="1"/>
            </a:lvl6pPr>
            <a:lvl7pPr marL="2743090" indent="0">
              <a:buNone/>
              <a:defRPr sz="1600" b="1"/>
            </a:lvl7pPr>
            <a:lvl8pPr marL="3200272" indent="0">
              <a:buNone/>
              <a:defRPr sz="1600" b="1"/>
            </a:lvl8pPr>
            <a:lvl9pPr marL="3657454" indent="0">
              <a:buNone/>
              <a:defRPr sz="1600" b="1"/>
            </a:lvl9pPr>
          </a:lstStyle>
          <a:p>
            <a:pPr lvl="0"/>
            <a:r>
              <a:rPr lang="nb-NO"/>
              <a:t>Mellomtittel</a:t>
            </a:r>
          </a:p>
        </p:txBody>
      </p:sp>
      <p:sp>
        <p:nvSpPr>
          <p:cNvPr id="21" name="Plassholder for innhold 2">
            <a:extLst>
              <a:ext uri="{FF2B5EF4-FFF2-40B4-BE49-F238E27FC236}">
                <a16:creationId xmlns:a16="http://schemas.microsoft.com/office/drawing/2014/main" id="{827A236F-F1E3-43A3-AEB2-F8044067EF4B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8700136" y="4583391"/>
            <a:ext cx="2688585" cy="1484034"/>
          </a:xfr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88244006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2CE88AE4-D6DC-47D7-95AB-19E519618CFA}" type="datetime1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4603548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gu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EB01A1F4-F13F-4618-960E-81237E5EA3BF}" type="datetime1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767CD8C-E6E1-47F7-A9B5-467CDD16F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864038"/>
            <a:ext cx="8763000" cy="1169551"/>
          </a:xfrm>
        </p:spPr>
        <p:txBody>
          <a:bodyPr lIns="0" tIns="0" rIns="0" bIns="0" anchor="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8" name="Plassholder for tekst 17">
            <a:extLst>
              <a:ext uri="{FF2B5EF4-FFF2-40B4-BE49-F238E27FC236}">
                <a16:creationId xmlns:a16="http://schemas.microsoft.com/office/drawing/2014/main" id="{980D9618-CA67-4EEF-97EF-B19AAD4D2B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6925" y="2550667"/>
            <a:ext cx="2077202" cy="1141200"/>
          </a:xfrm>
          <a:custGeom>
            <a:avLst/>
            <a:gdLst>
              <a:gd name="connsiteX0" fmla="*/ 0 w 2077202"/>
              <a:gd name="connsiteY0" fmla="*/ 0 h 1141200"/>
              <a:gd name="connsiteX1" fmla="*/ 1925815 w 2077202"/>
              <a:gd name="connsiteY1" fmla="*/ 0 h 1141200"/>
              <a:gd name="connsiteX2" fmla="*/ 1925815 w 2077202"/>
              <a:gd name="connsiteY2" fmla="*/ 413919 h 1141200"/>
              <a:gd name="connsiteX3" fmla="*/ 2077202 w 2077202"/>
              <a:gd name="connsiteY3" fmla="*/ 570600 h 1141200"/>
              <a:gd name="connsiteX4" fmla="*/ 1925815 w 2077202"/>
              <a:gd name="connsiteY4" fmla="*/ 727406 h 1141200"/>
              <a:gd name="connsiteX5" fmla="*/ 1925815 w 2077202"/>
              <a:gd name="connsiteY5" fmla="*/ 1141200 h 1141200"/>
              <a:gd name="connsiteX6" fmla="*/ 0 w 2077202"/>
              <a:gd name="connsiteY6" fmla="*/ 1141200 h 114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77202" h="1141200">
                <a:moveTo>
                  <a:pt x="0" y="0"/>
                </a:moveTo>
                <a:lnTo>
                  <a:pt x="1925815" y="0"/>
                </a:lnTo>
                <a:lnTo>
                  <a:pt x="1925815" y="413919"/>
                </a:lnTo>
                <a:lnTo>
                  <a:pt x="2077202" y="570600"/>
                </a:lnTo>
                <a:lnTo>
                  <a:pt x="1925815" y="727406"/>
                </a:lnTo>
                <a:lnTo>
                  <a:pt x="1925815" y="1141200"/>
                </a:lnTo>
                <a:lnTo>
                  <a:pt x="0" y="1141200"/>
                </a:lnTo>
                <a:close/>
              </a:path>
            </a:pathLst>
          </a:custGeom>
          <a:solidFill>
            <a:srgbClr val="6CACE4"/>
          </a:solidFill>
        </p:spPr>
        <p:txBody>
          <a:bodyPr wrap="square" lIns="180000" rIns="324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Sett inn mellomtittel</a:t>
            </a:r>
          </a:p>
        </p:txBody>
      </p:sp>
      <p:sp>
        <p:nvSpPr>
          <p:cNvPr id="21" name="Plassholder for tekst 20">
            <a:extLst>
              <a:ext uri="{FF2B5EF4-FFF2-40B4-BE49-F238E27FC236}">
                <a16:creationId xmlns:a16="http://schemas.microsoft.com/office/drawing/2014/main" id="{294781A3-E6F4-4901-810C-582E1E51DBA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70263" y="2550667"/>
            <a:ext cx="2077202" cy="1141200"/>
          </a:xfrm>
          <a:custGeom>
            <a:avLst/>
            <a:gdLst>
              <a:gd name="connsiteX0" fmla="*/ 0 w 2077202"/>
              <a:gd name="connsiteY0" fmla="*/ 0 h 1141200"/>
              <a:gd name="connsiteX1" fmla="*/ 1925815 w 2077202"/>
              <a:gd name="connsiteY1" fmla="*/ 0 h 1141200"/>
              <a:gd name="connsiteX2" fmla="*/ 1925815 w 2077202"/>
              <a:gd name="connsiteY2" fmla="*/ 413919 h 1141200"/>
              <a:gd name="connsiteX3" fmla="*/ 2077202 w 2077202"/>
              <a:gd name="connsiteY3" fmla="*/ 570600 h 1141200"/>
              <a:gd name="connsiteX4" fmla="*/ 1925815 w 2077202"/>
              <a:gd name="connsiteY4" fmla="*/ 727406 h 1141200"/>
              <a:gd name="connsiteX5" fmla="*/ 1925815 w 2077202"/>
              <a:gd name="connsiteY5" fmla="*/ 1141200 h 1141200"/>
              <a:gd name="connsiteX6" fmla="*/ 0 w 2077202"/>
              <a:gd name="connsiteY6" fmla="*/ 1141200 h 114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77202" h="1141200">
                <a:moveTo>
                  <a:pt x="0" y="0"/>
                </a:moveTo>
                <a:lnTo>
                  <a:pt x="1925815" y="0"/>
                </a:lnTo>
                <a:lnTo>
                  <a:pt x="1925815" y="413919"/>
                </a:lnTo>
                <a:lnTo>
                  <a:pt x="2077202" y="570600"/>
                </a:lnTo>
                <a:lnTo>
                  <a:pt x="1925815" y="727406"/>
                </a:lnTo>
                <a:lnTo>
                  <a:pt x="1925815" y="1141200"/>
                </a:lnTo>
                <a:lnTo>
                  <a:pt x="0" y="1141200"/>
                </a:lnTo>
                <a:close/>
              </a:path>
            </a:pathLst>
          </a:custGeom>
          <a:solidFill>
            <a:srgbClr val="FFC845">
              <a:alpha val="80000"/>
            </a:srgbClr>
          </a:solidFill>
        </p:spPr>
        <p:txBody>
          <a:bodyPr wrap="square" lIns="180000" rIns="324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Sett inn mellomtittel</a:t>
            </a:r>
          </a:p>
        </p:txBody>
      </p:sp>
      <p:sp>
        <p:nvSpPr>
          <p:cNvPr id="22" name="Plassholder for tekst 21">
            <a:extLst>
              <a:ext uri="{FF2B5EF4-FFF2-40B4-BE49-F238E27FC236}">
                <a16:creationId xmlns:a16="http://schemas.microsoft.com/office/drawing/2014/main" id="{F43E154C-A850-46AE-94EE-7DA3A017EDA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48427" y="2550667"/>
            <a:ext cx="2077202" cy="1141200"/>
          </a:xfrm>
          <a:custGeom>
            <a:avLst/>
            <a:gdLst>
              <a:gd name="connsiteX0" fmla="*/ 0 w 2077202"/>
              <a:gd name="connsiteY0" fmla="*/ 0 h 1141200"/>
              <a:gd name="connsiteX1" fmla="*/ 1925815 w 2077202"/>
              <a:gd name="connsiteY1" fmla="*/ 0 h 1141200"/>
              <a:gd name="connsiteX2" fmla="*/ 1925815 w 2077202"/>
              <a:gd name="connsiteY2" fmla="*/ 413919 h 1141200"/>
              <a:gd name="connsiteX3" fmla="*/ 2077202 w 2077202"/>
              <a:gd name="connsiteY3" fmla="*/ 570600 h 1141200"/>
              <a:gd name="connsiteX4" fmla="*/ 1925815 w 2077202"/>
              <a:gd name="connsiteY4" fmla="*/ 727406 h 1141200"/>
              <a:gd name="connsiteX5" fmla="*/ 1925815 w 2077202"/>
              <a:gd name="connsiteY5" fmla="*/ 1141200 h 1141200"/>
              <a:gd name="connsiteX6" fmla="*/ 0 w 2077202"/>
              <a:gd name="connsiteY6" fmla="*/ 1141200 h 114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77202" h="1141200">
                <a:moveTo>
                  <a:pt x="0" y="0"/>
                </a:moveTo>
                <a:lnTo>
                  <a:pt x="1925815" y="0"/>
                </a:lnTo>
                <a:lnTo>
                  <a:pt x="1925815" y="413919"/>
                </a:lnTo>
                <a:lnTo>
                  <a:pt x="2077202" y="570600"/>
                </a:lnTo>
                <a:lnTo>
                  <a:pt x="1925815" y="727406"/>
                </a:lnTo>
                <a:lnTo>
                  <a:pt x="1925815" y="1141200"/>
                </a:lnTo>
                <a:lnTo>
                  <a:pt x="0" y="1141200"/>
                </a:lnTo>
                <a:close/>
              </a:path>
            </a:pathLst>
          </a:custGeom>
          <a:solidFill>
            <a:srgbClr val="FF671F">
              <a:alpha val="80000"/>
            </a:srgbClr>
          </a:solidFill>
        </p:spPr>
        <p:txBody>
          <a:bodyPr wrap="square" lIns="180000" rIns="324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Sett inn mellomtittel</a:t>
            </a:r>
          </a:p>
        </p:txBody>
      </p:sp>
      <p:sp>
        <p:nvSpPr>
          <p:cNvPr id="23" name="Plassholder for tekst 22">
            <a:extLst>
              <a:ext uri="{FF2B5EF4-FFF2-40B4-BE49-F238E27FC236}">
                <a16:creationId xmlns:a16="http://schemas.microsoft.com/office/drawing/2014/main" id="{0B365A76-FEDD-4EE5-8005-0FEC4515D9E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26591" y="2550667"/>
            <a:ext cx="2077202" cy="1141200"/>
          </a:xfrm>
          <a:custGeom>
            <a:avLst/>
            <a:gdLst>
              <a:gd name="connsiteX0" fmla="*/ 0 w 2077202"/>
              <a:gd name="connsiteY0" fmla="*/ 0 h 1141200"/>
              <a:gd name="connsiteX1" fmla="*/ 1925815 w 2077202"/>
              <a:gd name="connsiteY1" fmla="*/ 0 h 1141200"/>
              <a:gd name="connsiteX2" fmla="*/ 1925815 w 2077202"/>
              <a:gd name="connsiteY2" fmla="*/ 413919 h 1141200"/>
              <a:gd name="connsiteX3" fmla="*/ 2077202 w 2077202"/>
              <a:gd name="connsiteY3" fmla="*/ 570600 h 1141200"/>
              <a:gd name="connsiteX4" fmla="*/ 1925815 w 2077202"/>
              <a:gd name="connsiteY4" fmla="*/ 727406 h 1141200"/>
              <a:gd name="connsiteX5" fmla="*/ 1925815 w 2077202"/>
              <a:gd name="connsiteY5" fmla="*/ 1141200 h 1141200"/>
              <a:gd name="connsiteX6" fmla="*/ 0 w 2077202"/>
              <a:gd name="connsiteY6" fmla="*/ 1141200 h 114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77202" h="1141200">
                <a:moveTo>
                  <a:pt x="0" y="0"/>
                </a:moveTo>
                <a:lnTo>
                  <a:pt x="1925815" y="0"/>
                </a:lnTo>
                <a:lnTo>
                  <a:pt x="1925815" y="413919"/>
                </a:lnTo>
                <a:lnTo>
                  <a:pt x="2077202" y="570600"/>
                </a:lnTo>
                <a:lnTo>
                  <a:pt x="1925815" y="727406"/>
                </a:lnTo>
                <a:lnTo>
                  <a:pt x="1925815" y="1141200"/>
                </a:lnTo>
                <a:lnTo>
                  <a:pt x="0" y="1141200"/>
                </a:lnTo>
                <a:close/>
              </a:path>
            </a:pathLst>
          </a:custGeom>
          <a:solidFill>
            <a:srgbClr val="BFCED6">
              <a:alpha val="80000"/>
            </a:srgbClr>
          </a:solidFill>
        </p:spPr>
        <p:txBody>
          <a:bodyPr wrap="square" lIns="180000" rIns="324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Sett inn mellomtittel</a:t>
            </a:r>
          </a:p>
        </p:txBody>
      </p:sp>
      <p:sp>
        <p:nvSpPr>
          <p:cNvPr id="24" name="Plassholder for tekst 23">
            <a:extLst>
              <a:ext uri="{FF2B5EF4-FFF2-40B4-BE49-F238E27FC236}">
                <a16:creationId xmlns:a16="http://schemas.microsoft.com/office/drawing/2014/main" id="{FAF72941-2213-48F9-A258-464DB4AE06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504755" y="2550667"/>
            <a:ext cx="2077202" cy="1141200"/>
          </a:xfrm>
          <a:custGeom>
            <a:avLst/>
            <a:gdLst>
              <a:gd name="connsiteX0" fmla="*/ 0 w 2077202"/>
              <a:gd name="connsiteY0" fmla="*/ 0 h 1141200"/>
              <a:gd name="connsiteX1" fmla="*/ 1925815 w 2077202"/>
              <a:gd name="connsiteY1" fmla="*/ 0 h 1141200"/>
              <a:gd name="connsiteX2" fmla="*/ 1925815 w 2077202"/>
              <a:gd name="connsiteY2" fmla="*/ 413919 h 1141200"/>
              <a:gd name="connsiteX3" fmla="*/ 2077202 w 2077202"/>
              <a:gd name="connsiteY3" fmla="*/ 570600 h 1141200"/>
              <a:gd name="connsiteX4" fmla="*/ 1925815 w 2077202"/>
              <a:gd name="connsiteY4" fmla="*/ 727406 h 1141200"/>
              <a:gd name="connsiteX5" fmla="*/ 1925815 w 2077202"/>
              <a:gd name="connsiteY5" fmla="*/ 1141200 h 1141200"/>
              <a:gd name="connsiteX6" fmla="*/ 0 w 2077202"/>
              <a:gd name="connsiteY6" fmla="*/ 1141200 h 114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77202" h="1141200">
                <a:moveTo>
                  <a:pt x="0" y="0"/>
                </a:moveTo>
                <a:lnTo>
                  <a:pt x="1925815" y="0"/>
                </a:lnTo>
                <a:lnTo>
                  <a:pt x="1925815" y="413919"/>
                </a:lnTo>
                <a:lnTo>
                  <a:pt x="2077202" y="570600"/>
                </a:lnTo>
                <a:lnTo>
                  <a:pt x="1925815" y="727406"/>
                </a:lnTo>
                <a:lnTo>
                  <a:pt x="1925815" y="1141200"/>
                </a:lnTo>
                <a:lnTo>
                  <a:pt x="0" y="1141200"/>
                </a:lnTo>
                <a:close/>
              </a:path>
            </a:pathLst>
          </a:custGeom>
          <a:solidFill>
            <a:srgbClr val="6FA287">
              <a:alpha val="60000"/>
            </a:srgbClr>
          </a:solidFill>
        </p:spPr>
        <p:txBody>
          <a:bodyPr wrap="square" lIns="180000" rIns="324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Sett inn mellomtittel</a:t>
            </a:r>
          </a:p>
        </p:txBody>
      </p:sp>
      <p:sp>
        <p:nvSpPr>
          <p:cNvPr id="26" name="Plassholder for tekst 25">
            <a:extLst>
              <a:ext uri="{FF2B5EF4-FFF2-40B4-BE49-F238E27FC236}">
                <a16:creationId xmlns:a16="http://schemas.microsoft.com/office/drawing/2014/main" id="{B683161D-B5CD-4402-B040-A0C53012115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96926" y="4099488"/>
            <a:ext cx="1946275" cy="1963175"/>
          </a:xfrm>
        </p:spPr>
        <p:txBody>
          <a:bodyPr/>
          <a:lstStyle>
            <a:lvl1pPr marL="0" indent="0">
              <a:buNone/>
              <a:defRPr/>
            </a:lvl1pPr>
            <a:lvl2pPr marL="304788" indent="0"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</p:txBody>
      </p:sp>
      <p:sp>
        <p:nvSpPr>
          <p:cNvPr id="27" name="Plassholder for tekst 25">
            <a:extLst>
              <a:ext uri="{FF2B5EF4-FFF2-40B4-BE49-F238E27FC236}">
                <a16:creationId xmlns:a16="http://schemas.microsoft.com/office/drawing/2014/main" id="{1CFE57D9-0F71-4D97-9C49-4F0EEE5E8DB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970263" y="4099488"/>
            <a:ext cx="1946275" cy="1963175"/>
          </a:xfrm>
        </p:spPr>
        <p:txBody>
          <a:bodyPr/>
          <a:lstStyle>
            <a:lvl1pPr marL="0" indent="0">
              <a:buNone/>
              <a:defRPr/>
            </a:lvl1pPr>
            <a:lvl2pPr marL="304788" indent="0"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</p:txBody>
      </p:sp>
      <p:sp>
        <p:nvSpPr>
          <p:cNvPr id="28" name="Plassholder for tekst 25">
            <a:extLst>
              <a:ext uri="{FF2B5EF4-FFF2-40B4-BE49-F238E27FC236}">
                <a16:creationId xmlns:a16="http://schemas.microsoft.com/office/drawing/2014/main" id="{CEC8F951-6502-4237-9074-25F2C25EBA6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43602" y="4099488"/>
            <a:ext cx="1946275" cy="1963175"/>
          </a:xfrm>
        </p:spPr>
        <p:txBody>
          <a:bodyPr/>
          <a:lstStyle>
            <a:lvl1pPr marL="0" indent="0">
              <a:buNone/>
              <a:defRPr/>
            </a:lvl1pPr>
            <a:lvl2pPr marL="304788" indent="0"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</p:txBody>
      </p:sp>
      <p:sp>
        <p:nvSpPr>
          <p:cNvPr id="29" name="Plassholder for tekst 25">
            <a:extLst>
              <a:ext uri="{FF2B5EF4-FFF2-40B4-BE49-F238E27FC236}">
                <a16:creationId xmlns:a16="http://schemas.microsoft.com/office/drawing/2014/main" id="{8045DC42-5803-46CB-B7A0-A131E098534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316939" y="4099488"/>
            <a:ext cx="1946275" cy="1963175"/>
          </a:xfrm>
        </p:spPr>
        <p:txBody>
          <a:bodyPr/>
          <a:lstStyle>
            <a:lvl1pPr marL="0" indent="0">
              <a:buNone/>
              <a:defRPr/>
            </a:lvl1pPr>
            <a:lvl2pPr marL="304788" indent="0"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</p:txBody>
      </p:sp>
      <p:sp>
        <p:nvSpPr>
          <p:cNvPr id="30" name="Plassholder for tekst 25">
            <a:extLst>
              <a:ext uri="{FF2B5EF4-FFF2-40B4-BE49-F238E27FC236}">
                <a16:creationId xmlns:a16="http://schemas.microsoft.com/office/drawing/2014/main" id="{154DCB59-20D9-44F4-BD70-3558B1E4C18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490278" y="4099488"/>
            <a:ext cx="1946275" cy="1963175"/>
          </a:xfrm>
        </p:spPr>
        <p:txBody>
          <a:bodyPr/>
          <a:lstStyle>
            <a:lvl1pPr marL="0" indent="0">
              <a:buNone/>
              <a:defRPr/>
            </a:lvl1pPr>
            <a:lvl2pPr marL="304788" indent="0"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</p:txBody>
      </p:sp>
    </p:spTree>
    <p:extLst>
      <p:ext uri="{BB962C8B-B14F-4D97-AF65-F5344CB8AC3E}">
        <p14:creationId xmlns:p14="http://schemas.microsoft.com/office/powerpoint/2010/main" val="246436543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CC0ECB62-1AEE-44CF-B49B-E42FC5854D2B}"/>
              </a:ext>
            </a:extLst>
          </p:cNvPr>
          <p:cNvSpPr>
            <a:spLocks/>
          </p:cNvSpPr>
          <p:nvPr userDrawn="1"/>
        </p:nvSpPr>
        <p:spPr>
          <a:xfrm>
            <a:off x="0" y="986653"/>
            <a:ext cx="12192000" cy="587134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E0AB172-1CA3-41A2-A981-1FAE41E0AE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28901" y="2472029"/>
            <a:ext cx="7326312" cy="1169551"/>
          </a:xfrm>
        </p:spPr>
        <p:txBody>
          <a:bodyPr wrap="square" lIns="0" tIns="0" rIns="0" bIns="0" anchor="b">
            <a:noAutofit/>
          </a:bodyPr>
          <a:lstStyle>
            <a:lvl1pPr algn="ctr">
              <a:defRPr sz="380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32A96FBF-2AD2-49E7-82B8-77F232A2D3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28901" y="3981884"/>
            <a:ext cx="7326312" cy="615553"/>
          </a:xfrm>
        </p:spPr>
        <p:txBody>
          <a:bodyPr wrap="square" lIns="0" tIns="0" rIns="0" bIns="0">
            <a:noAutofit/>
          </a:bodyPr>
          <a:lstStyle>
            <a:lvl1pPr marL="0" indent="0" algn="ctr">
              <a:buNone/>
              <a:defRPr sz="2000">
                <a:solidFill>
                  <a:schemeClr val="l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435EFE49-716E-4BC2-9EFC-F6C4F62E78E1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572849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600075" y="1950245"/>
            <a:ext cx="8701088" cy="4350544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7" name="Tit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3060275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CC0ECB62-1AEE-44CF-B49B-E42FC5854D2B}"/>
              </a:ext>
            </a:extLst>
          </p:cNvPr>
          <p:cNvSpPr>
            <a:spLocks/>
          </p:cNvSpPr>
          <p:nvPr userDrawn="1"/>
        </p:nvSpPr>
        <p:spPr>
          <a:xfrm>
            <a:off x="0" y="986400"/>
            <a:ext cx="12192000" cy="5871600"/>
          </a:xfrm>
          <a:prstGeom prst="rect">
            <a:avLst/>
          </a:prstGeom>
          <a:solidFill>
            <a:srgbClr val="557C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E0AB172-1CA3-41A2-A981-1FAE41E0AE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28901" y="2472029"/>
            <a:ext cx="7326312" cy="1169551"/>
          </a:xfrm>
        </p:spPr>
        <p:txBody>
          <a:bodyPr wrap="square" lIns="0" tIns="0" rIns="0" bIns="0" anchor="b">
            <a:noAutofit/>
          </a:bodyPr>
          <a:lstStyle>
            <a:lvl1pPr algn="ctr">
              <a:defRPr sz="380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32A96FBF-2AD2-49E7-82B8-77F232A2D3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28901" y="3981884"/>
            <a:ext cx="7326312" cy="615553"/>
          </a:xfrm>
        </p:spPr>
        <p:txBody>
          <a:bodyPr wrap="square" lIns="0" tIns="0" rIns="0" bIns="0">
            <a:noAutofit/>
          </a:bodyPr>
          <a:lstStyle>
            <a:lvl1pPr marL="0" indent="0" algn="ctr">
              <a:buNone/>
              <a:defRPr sz="2000">
                <a:solidFill>
                  <a:schemeClr val="l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15C60970-FE6A-4F74-8A2F-7457C909ED37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561394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CC0ECB62-1AEE-44CF-B49B-E42FC5854D2B}"/>
              </a:ext>
            </a:extLst>
          </p:cNvPr>
          <p:cNvSpPr>
            <a:spLocks/>
          </p:cNvSpPr>
          <p:nvPr userDrawn="1"/>
        </p:nvSpPr>
        <p:spPr>
          <a:xfrm>
            <a:off x="0" y="986653"/>
            <a:ext cx="12192000" cy="58867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E0AB172-1CA3-41A2-A981-1FAE41E0AE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28901" y="2472029"/>
            <a:ext cx="7326312" cy="1169551"/>
          </a:xfrm>
        </p:spPr>
        <p:txBody>
          <a:bodyPr wrap="square" lIns="0" tIns="0" rIns="0" bIns="0" anchor="b">
            <a:noAutofit/>
          </a:bodyPr>
          <a:lstStyle>
            <a:lvl1pPr algn="ctr">
              <a:defRPr sz="380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32A96FBF-2AD2-49E7-82B8-77F232A2D3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28901" y="3981884"/>
            <a:ext cx="7326312" cy="615553"/>
          </a:xfrm>
        </p:spPr>
        <p:txBody>
          <a:bodyPr wrap="square" lIns="0" tIns="0" rIns="0" bIns="0">
            <a:noAutofit/>
          </a:bodyPr>
          <a:lstStyle>
            <a:lvl1pPr marL="0" indent="0" algn="ctr">
              <a:buNone/>
              <a:defRPr sz="2000">
                <a:solidFill>
                  <a:schemeClr val="l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6BF4CE17-8F5C-4F1D-B0BF-C08FC4116DFF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090345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side med tekst og lite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CC0ECB62-1AEE-44CF-B49B-E42FC5854D2B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7745756" cy="6873389"/>
          </a:xfrm>
          <a:prstGeom prst="rect">
            <a:avLst/>
          </a:prstGeom>
          <a:solidFill>
            <a:srgbClr val="ADDFB3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E0AB172-1CA3-41A2-A981-1FAE41E0AE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6926" y="1919145"/>
            <a:ext cx="5099049" cy="1169551"/>
          </a:xfrm>
        </p:spPr>
        <p:txBody>
          <a:bodyPr wrap="square" lIns="0" tIns="0" rIns="0" bIns="0" anchor="b">
            <a:noAutofit/>
          </a:bodyPr>
          <a:lstStyle>
            <a:lvl1pPr algn="l">
              <a:defRPr sz="3800">
                <a:solidFill>
                  <a:schemeClr val="dk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32A96FBF-2AD2-49E7-82B8-77F232A2D3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6926" y="3429000"/>
            <a:ext cx="5099049" cy="615553"/>
          </a:xfrm>
        </p:spPr>
        <p:txBody>
          <a:bodyPr wrap="square"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dk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E03A77A0-1B30-4FB6-A7F4-2AB117921877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Plassholder for bilde 8">
            <a:extLst>
              <a:ext uri="{FF2B5EF4-FFF2-40B4-BE49-F238E27FC236}">
                <a16:creationId xmlns:a16="http://schemas.microsoft.com/office/drawing/2014/main" id="{272F82BE-F1C9-48CB-AC9E-52F6EFCCF49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91263" y="976312"/>
            <a:ext cx="5097462" cy="5086351"/>
          </a:xfrm>
          <a:solidFill>
            <a:schemeClr val="lt2"/>
          </a:solidFill>
        </p:spPr>
        <p:txBody>
          <a:bodyPr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1" name="Plassholder for tekst 2">
            <a:extLst>
              <a:ext uri="{FF2B5EF4-FFF2-40B4-BE49-F238E27FC236}">
                <a16:creationId xmlns:a16="http://schemas.microsoft.com/office/drawing/2014/main" id="{19A61B69-527E-204C-A794-5F5CC653CA7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56129" y="2413000"/>
            <a:ext cx="107722" cy="3649664"/>
          </a:xfrm>
        </p:spPr>
        <p:txBody>
          <a:bodyPr vert="vert">
            <a:spAutoFit/>
          </a:bodyPr>
          <a:lstStyle>
            <a:lvl1pPr marL="0" indent="0" algn="r">
              <a:buNone/>
              <a:defRPr lang="nb-NO" sz="700" b="0" i="0" u="none" strike="noStrike" smtClean="0">
                <a:effectLst/>
              </a:defRPr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av fotograf</a:t>
            </a:r>
          </a:p>
        </p:txBody>
      </p:sp>
      <p:pic>
        <p:nvPicPr>
          <p:cNvPr id="12" name="Grafikk 11">
            <a:extLst>
              <a:ext uri="{FF2B5EF4-FFF2-40B4-BE49-F238E27FC236}">
                <a16:creationId xmlns:a16="http://schemas.microsoft.com/office/drawing/2014/main" id="{176B1D5F-6793-304B-A952-1D5516B71E3B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874226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side med tekst og lite 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CC0ECB62-1AEE-44CF-B49B-E42FC5854D2B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4064000" cy="687338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Plassholder for bilde 8">
            <a:extLst>
              <a:ext uri="{FF2B5EF4-FFF2-40B4-BE49-F238E27FC236}">
                <a16:creationId xmlns:a16="http://schemas.microsoft.com/office/drawing/2014/main" id="{7ABC5F84-5B0B-40B1-95B9-B8959CC84B7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98513" y="976312"/>
            <a:ext cx="5097462" cy="5086351"/>
          </a:xfrm>
          <a:solidFill>
            <a:schemeClr val="lt2"/>
          </a:solidFill>
        </p:spPr>
        <p:txBody>
          <a:bodyPr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E0AB172-1CA3-41A2-A981-1FAE41E0AE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91264" y="1919145"/>
            <a:ext cx="5097462" cy="1169551"/>
          </a:xfrm>
        </p:spPr>
        <p:txBody>
          <a:bodyPr wrap="square" lIns="0" tIns="0" rIns="0" bIns="0" anchor="b">
            <a:noAutofit/>
          </a:bodyPr>
          <a:lstStyle>
            <a:lvl1pPr algn="l">
              <a:defRPr sz="3800">
                <a:solidFill>
                  <a:schemeClr val="dk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32A96FBF-2AD2-49E7-82B8-77F232A2D3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91264" y="3429000"/>
            <a:ext cx="5097462" cy="615553"/>
          </a:xfrm>
        </p:spPr>
        <p:txBody>
          <a:bodyPr wrap="square"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dk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ADF2BF78-71A9-4214-8D45-00E0363A513E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Plassholder for tekst 2">
            <a:extLst>
              <a:ext uri="{FF2B5EF4-FFF2-40B4-BE49-F238E27FC236}">
                <a16:creationId xmlns:a16="http://schemas.microsoft.com/office/drawing/2014/main" id="{0FDE9D9C-A8AB-CF48-8328-3B918E7911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506" y="2413000"/>
            <a:ext cx="107722" cy="3649664"/>
          </a:xfrm>
        </p:spPr>
        <p:txBody>
          <a:bodyPr vert="vert">
            <a:spAutoFit/>
          </a:bodyPr>
          <a:lstStyle>
            <a:lvl1pPr marL="0" indent="0" algn="r">
              <a:buNone/>
              <a:defRPr lang="nb-NO" sz="700" b="0" i="0" u="none" strike="noStrike" smtClean="0">
                <a:effectLst/>
              </a:defRPr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av fotograf</a:t>
            </a:r>
          </a:p>
        </p:txBody>
      </p:sp>
      <p:pic>
        <p:nvPicPr>
          <p:cNvPr id="12" name="Grafikk 11">
            <a:extLst>
              <a:ext uri="{FF2B5EF4-FFF2-40B4-BE49-F238E27FC236}">
                <a16:creationId xmlns:a16="http://schemas.microsoft.com/office/drawing/2014/main" id="{A3BAEC17-17CB-9943-A4B3-CFACD18E37ED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926831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side med tekst og stor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2C6BCA24-2492-4D5E-851B-D133BE6BD08C}"/>
              </a:ext>
            </a:extLst>
          </p:cNvPr>
          <p:cNvSpPr/>
          <p:nvPr userDrawn="1"/>
        </p:nvSpPr>
        <p:spPr>
          <a:xfrm>
            <a:off x="406400" y="0"/>
            <a:ext cx="4064400" cy="4939200"/>
          </a:xfrm>
          <a:prstGeom prst="rect">
            <a:avLst/>
          </a:prstGeom>
          <a:solidFill>
            <a:srgbClr val="CEEC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3" name="Plassholder for bilde 12">
            <a:extLst>
              <a:ext uri="{FF2B5EF4-FFF2-40B4-BE49-F238E27FC236}">
                <a16:creationId xmlns:a16="http://schemas.microsoft.com/office/drawing/2014/main" id="{9E8A3748-D9BC-4588-9124-CBF265D47AB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986653"/>
            <a:ext cx="12192000" cy="5886736"/>
          </a:xfrm>
          <a:custGeom>
            <a:avLst/>
            <a:gdLst>
              <a:gd name="connsiteX0" fmla="*/ 0 w 12192000"/>
              <a:gd name="connsiteY0" fmla="*/ 0 h 5886736"/>
              <a:gd name="connsiteX1" fmla="*/ 406400 w 12192000"/>
              <a:gd name="connsiteY1" fmla="*/ 0 h 5886736"/>
              <a:gd name="connsiteX2" fmla="*/ 406400 w 12192000"/>
              <a:gd name="connsiteY2" fmla="*/ 3953669 h 5886736"/>
              <a:gd name="connsiteX3" fmla="*/ 4470400 w 12192000"/>
              <a:gd name="connsiteY3" fmla="*/ 3953669 h 5886736"/>
              <a:gd name="connsiteX4" fmla="*/ 4470400 w 12192000"/>
              <a:gd name="connsiteY4" fmla="*/ 0 h 5886736"/>
              <a:gd name="connsiteX5" fmla="*/ 12192000 w 12192000"/>
              <a:gd name="connsiteY5" fmla="*/ 0 h 5886736"/>
              <a:gd name="connsiteX6" fmla="*/ 12192000 w 12192000"/>
              <a:gd name="connsiteY6" fmla="*/ 5886736 h 5886736"/>
              <a:gd name="connsiteX7" fmla="*/ 0 w 12192000"/>
              <a:gd name="connsiteY7" fmla="*/ 5886736 h 5886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5886736">
                <a:moveTo>
                  <a:pt x="0" y="0"/>
                </a:moveTo>
                <a:lnTo>
                  <a:pt x="406400" y="0"/>
                </a:lnTo>
                <a:lnTo>
                  <a:pt x="406400" y="3953669"/>
                </a:lnTo>
                <a:lnTo>
                  <a:pt x="4470400" y="3953669"/>
                </a:lnTo>
                <a:lnTo>
                  <a:pt x="4470400" y="0"/>
                </a:lnTo>
                <a:lnTo>
                  <a:pt x="12192000" y="0"/>
                </a:lnTo>
                <a:lnTo>
                  <a:pt x="12192000" y="5886736"/>
                </a:lnTo>
                <a:lnTo>
                  <a:pt x="0" y="5886736"/>
                </a:lnTo>
                <a:close/>
              </a:path>
            </a:pathLst>
          </a:cu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E0AB172-1CA3-41A2-A981-1FAE41E0AE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6925" y="369794"/>
            <a:ext cx="3267075" cy="2991925"/>
          </a:xfrm>
        </p:spPr>
        <p:txBody>
          <a:bodyPr wrap="square" lIns="0" tIns="0" rIns="0" bIns="0" anchor="b">
            <a:noAutofit/>
          </a:bodyPr>
          <a:lstStyle>
            <a:lvl1pPr algn="l">
              <a:defRPr sz="3800">
                <a:solidFill>
                  <a:schemeClr val="dk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32A96FBF-2AD2-49E7-82B8-77F232A2D3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8513" y="3995788"/>
            <a:ext cx="3265487" cy="615553"/>
          </a:xfrm>
        </p:spPr>
        <p:txBody>
          <a:bodyPr wrap="square"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dk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7540A8F8-C481-4CBC-B329-75A7F15DEA2F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Plassholder for tekst 2">
            <a:extLst>
              <a:ext uri="{FF2B5EF4-FFF2-40B4-BE49-F238E27FC236}">
                <a16:creationId xmlns:a16="http://schemas.microsoft.com/office/drawing/2014/main" id="{9B83EA47-4C8F-6945-9467-5327596A61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16200000">
            <a:off x="10166464" y="4851828"/>
            <a:ext cx="107722" cy="3649664"/>
          </a:xfrm>
        </p:spPr>
        <p:txBody>
          <a:bodyPr vert="vert">
            <a:spAutoFit/>
          </a:bodyPr>
          <a:lstStyle>
            <a:lvl1pPr marL="0" indent="0" algn="r">
              <a:buNone/>
              <a:defRPr lang="nb-NO" sz="700" b="0" i="0" u="none" strike="noStrike" smtClean="0">
                <a:effectLst/>
              </a:defRPr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av fotograf</a:t>
            </a:r>
          </a:p>
        </p:txBody>
      </p:sp>
    </p:spTree>
    <p:extLst>
      <p:ext uri="{BB962C8B-B14F-4D97-AF65-F5344CB8AC3E}">
        <p14:creationId xmlns:p14="http://schemas.microsoft.com/office/powerpoint/2010/main" val="222216087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side med tekst og stort 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bilde 12">
            <a:extLst>
              <a:ext uri="{FF2B5EF4-FFF2-40B4-BE49-F238E27FC236}">
                <a16:creationId xmlns:a16="http://schemas.microsoft.com/office/drawing/2014/main" id="{9E8A3748-D9BC-4588-9124-CBF265D47AB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986653"/>
            <a:ext cx="12192000" cy="5886736"/>
          </a:xfrm>
          <a:custGeom>
            <a:avLst/>
            <a:gdLst>
              <a:gd name="connsiteX0" fmla="*/ 0 w 12192000"/>
              <a:gd name="connsiteY0" fmla="*/ 0 h 5886736"/>
              <a:gd name="connsiteX1" fmla="*/ 406400 w 12192000"/>
              <a:gd name="connsiteY1" fmla="*/ 0 h 5886736"/>
              <a:gd name="connsiteX2" fmla="*/ 406400 w 12192000"/>
              <a:gd name="connsiteY2" fmla="*/ 3953669 h 5886736"/>
              <a:gd name="connsiteX3" fmla="*/ 4470400 w 12192000"/>
              <a:gd name="connsiteY3" fmla="*/ 3953669 h 5886736"/>
              <a:gd name="connsiteX4" fmla="*/ 4470400 w 12192000"/>
              <a:gd name="connsiteY4" fmla="*/ 0 h 5886736"/>
              <a:gd name="connsiteX5" fmla="*/ 12192000 w 12192000"/>
              <a:gd name="connsiteY5" fmla="*/ 0 h 5886736"/>
              <a:gd name="connsiteX6" fmla="*/ 12192000 w 12192000"/>
              <a:gd name="connsiteY6" fmla="*/ 5886736 h 5886736"/>
              <a:gd name="connsiteX7" fmla="*/ 0 w 12192000"/>
              <a:gd name="connsiteY7" fmla="*/ 5886736 h 5886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5886736">
                <a:moveTo>
                  <a:pt x="0" y="0"/>
                </a:moveTo>
                <a:lnTo>
                  <a:pt x="406400" y="0"/>
                </a:lnTo>
                <a:lnTo>
                  <a:pt x="406400" y="3953669"/>
                </a:lnTo>
                <a:lnTo>
                  <a:pt x="4470400" y="3953669"/>
                </a:lnTo>
                <a:lnTo>
                  <a:pt x="4470400" y="0"/>
                </a:lnTo>
                <a:lnTo>
                  <a:pt x="12192000" y="0"/>
                </a:lnTo>
                <a:lnTo>
                  <a:pt x="12192000" y="5886736"/>
                </a:lnTo>
                <a:lnTo>
                  <a:pt x="0" y="5886736"/>
                </a:lnTo>
                <a:close/>
              </a:path>
            </a:pathLst>
          </a:cu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0D477F9B-9F58-4B5C-835B-EEB557C86025}"/>
              </a:ext>
            </a:extLst>
          </p:cNvPr>
          <p:cNvSpPr>
            <a:spLocks/>
          </p:cNvSpPr>
          <p:nvPr userDrawn="1"/>
        </p:nvSpPr>
        <p:spPr>
          <a:xfrm>
            <a:off x="406400" y="0"/>
            <a:ext cx="4064000" cy="49403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32A96FBF-2AD2-49E7-82B8-77F232A2D3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8513" y="3995788"/>
            <a:ext cx="3265487" cy="615553"/>
          </a:xfrm>
        </p:spPr>
        <p:txBody>
          <a:bodyPr wrap="square"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l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EEA361D0-87B0-4C01-8535-BCAFFBF87541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768FFDB9-DEC0-4ED2-AA73-EFDCD40205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6925" y="369794"/>
            <a:ext cx="3267075" cy="2991925"/>
          </a:xfrm>
        </p:spPr>
        <p:txBody>
          <a:bodyPr wrap="square" lIns="0" tIns="0" rIns="0" bIns="0" anchor="b">
            <a:noAutofit/>
          </a:bodyPr>
          <a:lstStyle>
            <a:lvl1pPr algn="l">
              <a:defRPr sz="38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tekst 2">
            <a:extLst>
              <a:ext uri="{FF2B5EF4-FFF2-40B4-BE49-F238E27FC236}">
                <a16:creationId xmlns:a16="http://schemas.microsoft.com/office/drawing/2014/main" id="{9BBF87C4-A7B5-134E-8831-50A2AE67C78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16200000">
            <a:off x="10166464" y="4851828"/>
            <a:ext cx="107722" cy="3649664"/>
          </a:xfrm>
        </p:spPr>
        <p:txBody>
          <a:bodyPr vert="vert">
            <a:spAutoFit/>
          </a:bodyPr>
          <a:lstStyle>
            <a:lvl1pPr marL="0" indent="0" algn="r">
              <a:buNone/>
              <a:defRPr lang="nb-NO" sz="700" b="0" i="0" u="none" strike="noStrike" smtClean="0">
                <a:effectLst/>
              </a:defRPr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av fotograf</a:t>
            </a:r>
          </a:p>
        </p:txBody>
      </p:sp>
    </p:spTree>
    <p:extLst>
      <p:ext uri="{BB962C8B-B14F-4D97-AF65-F5344CB8AC3E}">
        <p14:creationId xmlns:p14="http://schemas.microsoft.com/office/powerpoint/2010/main" val="309609344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74D9D44-98FA-4766-8341-8FC3D86332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00747B07-4572-40CF-B463-9CF5EBF58E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926" y="2413000"/>
            <a:ext cx="8763000" cy="3649664"/>
          </a:xfr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D869DCCC-FA35-4BC3-B401-3AF1C6FBDB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A852B1F4-6138-4225-A9A8-727786CA4CFA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C8BCE1B-16B5-4C51-BA48-E53851E99C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A2456F09-A299-4ECB-99F6-48D6F352DC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6938782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6729766-028C-47E0-B4C0-A2A5CFB050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9AFA5423-2D6F-4DEB-BD8E-434061892E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7C01F237-A6AB-4B8D-8F87-3AF6EC629C80}" type="datetime1">
              <a:rPr lang="nb-NO" smtClean="0"/>
              <a:t>08.03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B91FCA3-AAB1-4942-A403-EB01037198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0F52D164-B8A5-4C80-8608-6FCB80F2E4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>
            <a:extLst>
              <a:ext uri="{FF2B5EF4-FFF2-40B4-BE49-F238E27FC236}">
                <a16:creationId xmlns:a16="http://schemas.microsoft.com/office/drawing/2014/main" id="{D4C05C0E-D386-4C2B-8D54-20A35582EA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925" y="2413000"/>
            <a:ext cx="5097462" cy="3649664"/>
          </a:xfr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5E1BB4FF-EB57-43DA-9720-67307DA703D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91264" y="2413000"/>
            <a:ext cx="5097462" cy="3649664"/>
          </a:xfr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92138116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med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6729766-028C-47E0-B4C0-A2A5CFB050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9AFA5423-2D6F-4DEB-BD8E-434061892E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DAE63A93-2561-4A89-A7E2-7BE8335815AC}" type="datetime1">
              <a:rPr lang="nb-NO" smtClean="0"/>
              <a:t>08.03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B91FCA3-AAB1-4942-A403-EB01037198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0F52D164-B8A5-4C80-8608-6FCB80F2E4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42886FD8-E3F1-4AF6-B1B3-56C5C0F27DF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00099" y="2413000"/>
            <a:ext cx="5097462" cy="3649664"/>
          </a:xfrm>
          <a:prstGeom prst="rect">
            <a:avLst/>
          </a:prstGeom>
          <a:solidFill>
            <a:schemeClr val="lt2"/>
          </a:solidFill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4" name="Plassholder for bilde 3">
            <a:extLst>
              <a:ext uri="{FF2B5EF4-FFF2-40B4-BE49-F238E27FC236}">
                <a16:creationId xmlns:a16="http://schemas.microsoft.com/office/drawing/2014/main" id="{19D6546F-BDA3-480D-81D5-6D1B8A13EFD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94438" y="2413000"/>
            <a:ext cx="5097462" cy="3649664"/>
          </a:xfrm>
          <a:prstGeom prst="rect">
            <a:avLst/>
          </a:prstGeom>
          <a:solidFill>
            <a:schemeClr val="lt2"/>
          </a:solidFill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8" name="Plassholder for tekst 2">
            <a:extLst>
              <a:ext uri="{FF2B5EF4-FFF2-40B4-BE49-F238E27FC236}">
                <a16:creationId xmlns:a16="http://schemas.microsoft.com/office/drawing/2014/main" id="{331544C7-6E4D-4FCE-B743-A772C08B1F9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56129" y="2413000"/>
            <a:ext cx="107722" cy="3649664"/>
          </a:xfrm>
        </p:spPr>
        <p:txBody>
          <a:bodyPr vert="vert">
            <a:spAutoFit/>
          </a:bodyPr>
          <a:lstStyle>
            <a:lvl1pPr marL="0" indent="0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</p:spTree>
    <p:extLst>
      <p:ext uri="{BB962C8B-B14F-4D97-AF65-F5344CB8AC3E}">
        <p14:creationId xmlns:p14="http://schemas.microsoft.com/office/powerpoint/2010/main" val="71283494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015AA92-CFF3-4A68-B2C4-B3E6548DB7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96925" y="2387600"/>
            <a:ext cx="5097462" cy="73866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08B1DF3D-C6BE-4D4E-957F-C6DEF92025D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91264" y="2387600"/>
            <a:ext cx="5097462" cy="73866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0CD12513-0937-438B-92B2-80ABB131DF2B}" type="datetime1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767CD8C-E6E1-47F7-A9B5-467CDD16F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864037"/>
            <a:ext cx="8763000" cy="1169551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1" name="Plassholder for innhold 2">
            <a:extLst>
              <a:ext uri="{FF2B5EF4-FFF2-40B4-BE49-F238E27FC236}">
                <a16:creationId xmlns:a16="http://schemas.microsoft.com/office/drawing/2014/main" id="{D1A5C7BA-CCD2-40AB-95E9-773DE7FB605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96925" y="3327400"/>
            <a:ext cx="5097462" cy="2735264"/>
          </a:xfr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A274A5EE-0306-47C8-95FA-9176D50FAB41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91264" y="3327400"/>
            <a:ext cx="5097462" cy="2735264"/>
          </a:xfr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0202956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tekst &amp; innhold /m undertitte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0076" y="1800226"/>
            <a:ext cx="5250657" cy="600075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380970" indent="0">
              <a:buNone/>
              <a:defRPr sz="1667" b="1"/>
            </a:lvl2pPr>
            <a:lvl3pPr marL="761940" indent="0">
              <a:buNone/>
              <a:defRPr sz="1500" b="1"/>
            </a:lvl3pPr>
            <a:lvl4pPr marL="1142908" indent="0">
              <a:buNone/>
              <a:defRPr sz="1333" b="1"/>
            </a:lvl4pPr>
            <a:lvl5pPr marL="1523878" indent="0">
              <a:buNone/>
              <a:defRPr sz="1333" b="1"/>
            </a:lvl5pPr>
            <a:lvl6pPr marL="1904848" indent="0">
              <a:buNone/>
              <a:defRPr sz="1333" b="1"/>
            </a:lvl6pPr>
            <a:lvl7pPr marL="2285818" indent="0">
              <a:buNone/>
              <a:defRPr sz="1333" b="1"/>
            </a:lvl7pPr>
            <a:lvl8pPr marL="2666787" indent="0">
              <a:buNone/>
              <a:defRPr sz="1333" b="1"/>
            </a:lvl8pPr>
            <a:lvl9pPr marL="3047756" indent="0">
              <a:buNone/>
              <a:defRPr sz="1333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00076" y="2550321"/>
            <a:ext cx="5250657" cy="3750469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 hasCustomPrompt="1"/>
          </p:nvPr>
        </p:nvSpPr>
        <p:spPr>
          <a:xfrm>
            <a:off x="6300787" y="900113"/>
            <a:ext cx="5250657" cy="54006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/>
              <a:t>Sett inn innhold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0077" y="900113"/>
            <a:ext cx="5250657" cy="72009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428998596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2F26BDD0-8444-406F-A543-4E312E51B5A4}" type="datetime1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767CD8C-E6E1-47F7-A9B5-467CDD16F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864037"/>
            <a:ext cx="5097462" cy="1169551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3" name="Plassholder for bilde 3">
            <a:extLst>
              <a:ext uri="{FF2B5EF4-FFF2-40B4-BE49-F238E27FC236}">
                <a16:creationId xmlns:a16="http://schemas.microsoft.com/office/drawing/2014/main" id="{B5A1E56D-AE99-4789-B24D-61210A3F24F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97614" y="976312"/>
            <a:ext cx="5894385" cy="5086351"/>
          </a:xfrm>
          <a:prstGeom prst="rect">
            <a:avLst/>
          </a:prstGeom>
          <a:solidFill>
            <a:schemeClr val="lt2"/>
          </a:solidFill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2F76D602-75E9-486D-9F94-3D7511C622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925" y="2413000"/>
            <a:ext cx="5097462" cy="3649664"/>
          </a:xfr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2">
            <a:extLst>
              <a:ext uri="{FF2B5EF4-FFF2-40B4-BE49-F238E27FC236}">
                <a16:creationId xmlns:a16="http://schemas.microsoft.com/office/drawing/2014/main" id="{55A6CEE8-9BD3-4F79-BFFB-FCCC2C74836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24843" y="1412460"/>
            <a:ext cx="107722" cy="4543926"/>
          </a:xfrm>
        </p:spPr>
        <p:txBody>
          <a:bodyPr vert="vert">
            <a:spAutoFit/>
          </a:bodyPr>
          <a:lstStyle>
            <a:lvl1pPr marL="0" indent="0" algn="r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</p:spTree>
    <p:extLst>
      <p:ext uri="{BB962C8B-B14F-4D97-AF65-F5344CB8AC3E}">
        <p14:creationId xmlns:p14="http://schemas.microsoft.com/office/powerpoint/2010/main" val="403744696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F0D09085-7D4B-4E10-9C99-B8BD245DBFE6}" type="datetime1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767CD8C-E6E1-47F7-A9B5-467CDD16F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4" y="864037"/>
            <a:ext cx="6931025" cy="1169551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3" name="Plassholder for bilde 3">
            <a:extLst>
              <a:ext uri="{FF2B5EF4-FFF2-40B4-BE49-F238E27FC236}">
                <a16:creationId xmlns:a16="http://schemas.microsoft.com/office/drawing/2014/main" id="{B5A1E56D-AE99-4789-B24D-61210A3F24F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23239" y="976312"/>
            <a:ext cx="4068762" cy="5086351"/>
          </a:xfrm>
          <a:prstGeom prst="rect">
            <a:avLst/>
          </a:prstGeom>
          <a:solidFill>
            <a:schemeClr val="lt2"/>
          </a:solidFill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2F76D602-75E9-486D-9F94-3D7511C622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924" y="2413000"/>
            <a:ext cx="6931025" cy="3649664"/>
          </a:xfr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2">
            <a:extLst>
              <a:ext uri="{FF2B5EF4-FFF2-40B4-BE49-F238E27FC236}">
                <a16:creationId xmlns:a16="http://schemas.microsoft.com/office/drawing/2014/main" id="{9BE31FBC-3E87-4906-8AF2-8C42F3A72D5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24843" y="1412460"/>
            <a:ext cx="107722" cy="4543926"/>
          </a:xfrm>
        </p:spPr>
        <p:txBody>
          <a:bodyPr vert="vert">
            <a:spAutoFit/>
          </a:bodyPr>
          <a:lstStyle>
            <a:lvl1pPr marL="0" indent="0" algn="r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</p:spTree>
    <p:extLst>
      <p:ext uri="{BB962C8B-B14F-4D97-AF65-F5344CB8AC3E}">
        <p14:creationId xmlns:p14="http://schemas.microsoft.com/office/powerpoint/2010/main" val="26923372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bild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50532F98-8284-484E-8BF4-A5270B91B9B5}" type="datetime1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767CD8C-E6E1-47F7-A9B5-467CDD16F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976313"/>
            <a:ext cx="3267076" cy="1057275"/>
          </a:xfrm>
        </p:spPr>
        <p:txBody>
          <a:bodyPr lIns="0" tIns="0" rIns="0" bIns="0"/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Plassholder for bilde 3">
            <a:extLst>
              <a:ext uri="{FF2B5EF4-FFF2-40B4-BE49-F238E27FC236}">
                <a16:creationId xmlns:a16="http://schemas.microsoft.com/office/drawing/2014/main" id="{B5A1E56D-AE99-4789-B24D-61210A3F24F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59288" y="976312"/>
            <a:ext cx="7732712" cy="5086351"/>
          </a:xfrm>
          <a:prstGeom prst="rect">
            <a:avLst/>
          </a:prstGeom>
          <a:solidFill>
            <a:schemeClr val="lt2"/>
          </a:solidFill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2F76D602-75E9-486D-9F94-3D7511C622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925" y="2413000"/>
            <a:ext cx="3267076" cy="3649664"/>
          </a:xfr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2">
            <a:extLst>
              <a:ext uri="{FF2B5EF4-FFF2-40B4-BE49-F238E27FC236}">
                <a16:creationId xmlns:a16="http://schemas.microsoft.com/office/drawing/2014/main" id="{0B37DE26-D1C3-4958-AAD0-4B083C57A7A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24843" y="1412460"/>
            <a:ext cx="107722" cy="4543926"/>
          </a:xfrm>
        </p:spPr>
        <p:txBody>
          <a:bodyPr vert="vert">
            <a:spAutoFit/>
          </a:bodyPr>
          <a:lstStyle>
            <a:lvl1pPr marL="0" indent="0" algn="r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</p:spTree>
    <p:extLst>
      <p:ext uri="{BB962C8B-B14F-4D97-AF65-F5344CB8AC3E}">
        <p14:creationId xmlns:p14="http://schemas.microsoft.com/office/powerpoint/2010/main" val="148481881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undertittel, tekst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015AA92-CFF3-4A68-B2C4-B3E6548DB7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96925" y="2387600"/>
            <a:ext cx="5097462" cy="73866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8910D29F-BF1C-499C-865B-AE569007ACDD}" type="datetime1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767CD8C-E6E1-47F7-A9B5-467CDD16F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864037"/>
            <a:ext cx="5097462" cy="1169551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1" name="Plassholder for innhold 2">
            <a:extLst>
              <a:ext uri="{FF2B5EF4-FFF2-40B4-BE49-F238E27FC236}">
                <a16:creationId xmlns:a16="http://schemas.microsoft.com/office/drawing/2014/main" id="{D1A5C7BA-CCD2-40AB-95E9-773DE7FB605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96925" y="3327400"/>
            <a:ext cx="5097462" cy="2735264"/>
          </a:xfr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3" name="Plassholder for bilde 3">
            <a:extLst>
              <a:ext uri="{FF2B5EF4-FFF2-40B4-BE49-F238E27FC236}">
                <a16:creationId xmlns:a16="http://schemas.microsoft.com/office/drawing/2014/main" id="{B5A1E56D-AE99-4789-B24D-61210A3F24F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97614" y="976312"/>
            <a:ext cx="5894385" cy="5086351"/>
          </a:xfrm>
          <a:prstGeom prst="rect">
            <a:avLst/>
          </a:prstGeom>
          <a:solidFill>
            <a:schemeClr val="lt2"/>
          </a:solidFill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2" name="Plassholder for tekst 2">
            <a:extLst>
              <a:ext uri="{FF2B5EF4-FFF2-40B4-BE49-F238E27FC236}">
                <a16:creationId xmlns:a16="http://schemas.microsoft.com/office/drawing/2014/main" id="{FF8DB92C-8780-4508-8B81-50F70170913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24843" y="1412460"/>
            <a:ext cx="107722" cy="4543926"/>
          </a:xfrm>
        </p:spPr>
        <p:txBody>
          <a:bodyPr vert="vert">
            <a:spAutoFit/>
          </a:bodyPr>
          <a:lstStyle>
            <a:lvl1pPr marL="0" indent="0" algn="r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</p:spTree>
    <p:extLst>
      <p:ext uri="{BB962C8B-B14F-4D97-AF65-F5344CB8AC3E}">
        <p14:creationId xmlns:p14="http://schemas.microsoft.com/office/powerpoint/2010/main" val="136209785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E0B51F30-4B04-4CED-95D8-06D381065EE3}" type="datetime1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767CD8C-E6E1-47F7-A9B5-467CDD16F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864037"/>
            <a:ext cx="8763000" cy="584775"/>
          </a:xfrm>
        </p:spPr>
        <p:txBody>
          <a:bodyPr lIns="0" tIns="0" rIns="0" bIns="0" anchor="t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4" name="Plassholder for bilde 3">
            <a:extLst>
              <a:ext uri="{FF2B5EF4-FFF2-40B4-BE49-F238E27FC236}">
                <a16:creationId xmlns:a16="http://schemas.microsoft.com/office/drawing/2014/main" id="{13A60648-8934-4097-B0A8-3EAAC644EE1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96925" y="1931822"/>
            <a:ext cx="10594975" cy="4130842"/>
          </a:xfrm>
          <a:prstGeom prst="rect">
            <a:avLst/>
          </a:prstGeom>
          <a:solidFill>
            <a:schemeClr val="lt2"/>
          </a:solidFill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D1728619-46BA-4E25-9B80-6EE5C107EB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56129" y="1931821"/>
            <a:ext cx="107722" cy="4130842"/>
          </a:xfrm>
        </p:spPr>
        <p:txBody>
          <a:bodyPr vert="vert">
            <a:spAutoFit/>
          </a:bodyPr>
          <a:lstStyle>
            <a:lvl1pPr marL="0" indent="0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</p:spTree>
    <p:extLst>
      <p:ext uri="{BB962C8B-B14F-4D97-AF65-F5344CB8AC3E}">
        <p14:creationId xmlns:p14="http://schemas.microsoft.com/office/powerpoint/2010/main" val="220181112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side med tittel og plassholder for ik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91BB3812-6B92-41AA-B031-D8E21DD4438F}"/>
              </a:ext>
            </a:extLst>
          </p:cNvPr>
          <p:cNvSpPr/>
          <p:nvPr userDrawn="1"/>
        </p:nvSpPr>
        <p:spPr>
          <a:xfrm>
            <a:off x="7727950" y="0"/>
            <a:ext cx="4464050" cy="6858000"/>
          </a:xfrm>
          <a:prstGeom prst="rect">
            <a:avLst/>
          </a:prstGeom>
          <a:solidFill>
            <a:schemeClr val="lt1"/>
          </a:solidFill>
          <a:ln w="12700" cap="flat" cmpd="sng" algn="ctr">
            <a:solidFill>
              <a:schemeClr val="accent1">
                <a:lumMod val="100000"/>
                <a:shade val="50000"/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711D1A4-C7C4-41B6-A20A-E04C3D11A5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0996CB9A-6DD9-4653-8D14-4D1DE607FA66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55B6032-7D05-4D83-8FF2-DBCDFB87B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49314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81243BF-36D7-45B2-9C81-EB43C04D2E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49314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6B81A321-9273-48AB-9354-A60166B59A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23238" y="2222499"/>
            <a:ext cx="3265488" cy="3840163"/>
          </a:xfrm>
        </p:spPr>
        <p:txBody>
          <a:bodyPr wrap="square" lIns="0" tIns="0" rIns="0" bIns="0" anchor="t">
            <a:noAutofit/>
          </a:bodyPr>
          <a:lstStyle>
            <a:lvl1pPr algn="l">
              <a:defRPr sz="3800">
                <a:solidFill>
                  <a:schemeClr val="dk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Plassholder for innhold 12">
            <a:extLst>
              <a:ext uri="{FF2B5EF4-FFF2-40B4-BE49-F238E27FC236}">
                <a16:creationId xmlns:a16="http://schemas.microsoft.com/office/drawing/2014/main" id="{A11D1591-3D05-48F9-81D2-4C1C533E0F4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763898" y="1521190"/>
            <a:ext cx="4132078" cy="350961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/>
              <a:t>Klikk bildeknappen for å sette inn ikon her</a:t>
            </a:r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B722D91D-A69A-7F4F-B7A5-57E3F7AA6259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789246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side med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711D1A4-C7C4-41B6-A20A-E04C3D11A5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6CB06730-514D-447A-AC1B-D56E4CAC2848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55B6032-7D05-4D83-8FF2-DBCDFB87B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49314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81243BF-36D7-45B2-9C81-EB43C04D2E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49314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6B81A321-9273-48AB-9354-A60166B59A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23238" y="2222499"/>
            <a:ext cx="3265488" cy="3840163"/>
          </a:xfrm>
        </p:spPr>
        <p:txBody>
          <a:bodyPr wrap="square" lIns="0" tIns="0" rIns="0" bIns="0" anchor="t">
            <a:noAutofit/>
          </a:bodyPr>
          <a:lstStyle>
            <a:lvl1pPr algn="l">
              <a:defRPr sz="3800">
                <a:solidFill>
                  <a:schemeClr val="dk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bilde 2">
            <a:extLst>
              <a:ext uri="{FF2B5EF4-FFF2-40B4-BE49-F238E27FC236}">
                <a16:creationId xmlns:a16="http://schemas.microsoft.com/office/drawing/2014/main" id="{1819DB7C-4281-4A4C-92FC-574B03EC3C9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972122"/>
            <a:ext cx="7727950" cy="5109651"/>
          </a:xfrm>
          <a:prstGeom prst="rect">
            <a:avLst/>
          </a:prstGeom>
          <a:solidFill>
            <a:schemeClr val="lt2"/>
          </a:solidFill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0" name="Plassholder for tekst 2">
            <a:extLst>
              <a:ext uri="{FF2B5EF4-FFF2-40B4-BE49-F238E27FC236}">
                <a16:creationId xmlns:a16="http://schemas.microsoft.com/office/drawing/2014/main" id="{59AE6E74-257D-40FA-ACE0-1C3E8F4E5B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16200000">
            <a:off x="2971029" y="3643868"/>
            <a:ext cx="107722" cy="5109651"/>
          </a:xfrm>
        </p:spPr>
        <p:txBody>
          <a:bodyPr vert="vert">
            <a:spAutoFit/>
          </a:bodyPr>
          <a:lstStyle>
            <a:lvl1pPr marL="0" indent="0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  <p:pic>
        <p:nvPicPr>
          <p:cNvPr id="12" name="Grafikk 11">
            <a:extLst>
              <a:ext uri="{FF2B5EF4-FFF2-40B4-BE49-F238E27FC236}">
                <a16:creationId xmlns:a16="http://schemas.microsoft.com/office/drawing/2014/main" id="{20A73530-78F3-E246-8269-0BF01BB42685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098110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side med kun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2EA38832-0BFF-B141-8DEA-3ABA4C0DEF7B}"/>
              </a:ext>
            </a:extLst>
          </p:cNvPr>
          <p:cNvSpPr/>
          <p:nvPr userDrawn="1"/>
        </p:nvSpPr>
        <p:spPr>
          <a:xfrm>
            <a:off x="7734928" y="-11723"/>
            <a:ext cx="4467600" cy="6876000"/>
          </a:xfrm>
          <a:prstGeom prst="rect">
            <a:avLst/>
          </a:prstGeom>
          <a:solidFill>
            <a:schemeClr val="lt1"/>
          </a:solidFill>
          <a:ln w="12700" cap="flat" cmpd="sng" algn="ctr">
            <a:solidFill>
              <a:schemeClr val="accent1">
                <a:lumMod val="100000"/>
                <a:shade val="50000"/>
                <a:alpha val="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711D1A4-C7C4-41B6-A20A-E04C3D11A5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F0229358-32AD-4AE8-84CE-030CC25296FA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55B6032-7D05-4D83-8FF2-DBCDFB87B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49314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81243BF-36D7-45B2-9C81-EB43C04D2E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49314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6B81A321-9273-48AB-9354-A60166B59A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6925" y="2222499"/>
            <a:ext cx="5099050" cy="3840163"/>
          </a:xfrm>
        </p:spPr>
        <p:txBody>
          <a:bodyPr wrap="square" lIns="0" tIns="0" rIns="0" bIns="0" anchor="t">
            <a:noAutofit/>
          </a:bodyPr>
          <a:lstStyle>
            <a:lvl1pPr algn="l">
              <a:defRPr sz="380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7B98F3BF-61B5-204E-A801-FADFF39059DD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48194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side med dekor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711D1A4-C7C4-41B6-A20A-E04C3D11A5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09AD0F42-88F7-4426-8B24-A2C24B047AD9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55B6032-7D05-4D83-8FF2-DBCDFB87B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49314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81243BF-36D7-45B2-9C81-EB43C04D2E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49314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6B81A321-9273-48AB-9354-A60166B59A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23238" y="2222499"/>
            <a:ext cx="3265488" cy="3840163"/>
          </a:xfrm>
        </p:spPr>
        <p:txBody>
          <a:bodyPr wrap="square" lIns="0" tIns="0" rIns="0" bIns="0" anchor="t">
            <a:noAutofit/>
          </a:bodyPr>
          <a:lstStyle>
            <a:lvl1pPr algn="l">
              <a:defRPr sz="3800">
                <a:solidFill>
                  <a:schemeClr val="dk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8" descr="Et bilde som inneholder tekst&#10;&#10;Automatisk generert beskrivelse">
            <a:extLst>
              <a:ext uri="{FF2B5EF4-FFF2-40B4-BE49-F238E27FC236}">
                <a16:creationId xmlns:a16="http://schemas.microsoft.com/office/drawing/2014/main" id="{1CF77BC4-34AA-4675-BE55-234304E21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732776" cy="6858000"/>
          </a:xfrm>
          <a:prstGeom prst="rect">
            <a:avLst/>
          </a:prstGeom>
        </p:spPr>
      </p:pic>
      <p:pic>
        <p:nvPicPr>
          <p:cNvPr id="10" name="Grafikk 9">
            <a:extLst>
              <a:ext uri="{FF2B5EF4-FFF2-40B4-BE49-F238E27FC236}">
                <a16:creationId xmlns:a16="http://schemas.microsoft.com/office/drawing/2014/main" id="{83688B5B-08F8-FA49-95AB-92CF82DF886B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17925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side med dekor gr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711D1A4-C7C4-41B6-A20A-E04C3D11A5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9583505E-4570-4F62-ADB7-70756F9DF1AC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55B6032-7D05-4D83-8FF2-DBCDFB87B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49314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81243BF-36D7-45B2-9C81-EB43C04D2E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49314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6B81A321-9273-48AB-9354-A60166B59A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23238" y="2222499"/>
            <a:ext cx="3265488" cy="3840163"/>
          </a:xfrm>
        </p:spPr>
        <p:txBody>
          <a:bodyPr wrap="square" lIns="0" tIns="0" rIns="0" bIns="0" anchor="t">
            <a:noAutofit/>
          </a:bodyPr>
          <a:lstStyle>
            <a:lvl1pPr algn="l">
              <a:defRPr sz="3800">
                <a:solidFill>
                  <a:schemeClr val="dk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BB590AD2-59FE-4C3E-BC34-FC6D87F3F5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732776" cy="6858000"/>
          </a:xfrm>
          <a:prstGeom prst="rect">
            <a:avLst/>
          </a:prstGeom>
        </p:spPr>
      </p:pic>
      <p:pic>
        <p:nvPicPr>
          <p:cNvPr id="10" name="Grafikk 9">
            <a:extLst>
              <a:ext uri="{FF2B5EF4-FFF2-40B4-BE49-F238E27FC236}">
                <a16:creationId xmlns:a16="http://schemas.microsoft.com/office/drawing/2014/main" id="{C7B1B64B-7C38-FD4D-B5D1-1522D3F3AE2D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74415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&amp;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00076" y="1800225"/>
            <a:ext cx="5250657" cy="4500563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 hasCustomPrompt="1"/>
          </p:nvPr>
        </p:nvSpPr>
        <p:spPr>
          <a:xfrm>
            <a:off x="6300787" y="900113"/>
            <a:ext cx="5250657" cy="54006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/>
              <a:t>Sett inn innhold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0076" y="900113"/>
            <a:ext cx="5250657" cy="72009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97548711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side med dekor g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711D1A4-C7C4-41B6-A20A-E04C3D11A5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538E33CC-B1F4-4813-A999-EED8B2EAC101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55B6032-7D05-4D83-8FF2-DBCDFB87B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49314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81243BF-36D7-45B2-9C81-EB43C04D2E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49314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6B81A321-9273-48AB-9354-A60166B59A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23238" y="2222499"/>
            <a:ext cx="3265488" cy="3840163"/>
          </a:xfrm>
        </p:spPr>
        <p:txBody>
          <a:bodyPr wrap="square" lIns="0" tIns="0" rIns="0" bIns="0" anchor="t">
            <a:noAutofit/>
          </a:bodyPr>
          <a:lstStyle>
            <a:lvl1pPr algn="l">
              <a:defRPr sz="3800">
                <a:solidFill>
                  <a:schemeClr val="dk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86CF46EF-E081-41C3-825D-4BA7493F57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732776" cy="6858000"/>
          </a:xfrm>
          <a:prstGeom prst="rect">
            <a:avLst/>
          </a:prstGeom>
        </p:spPr>
      </p:pic>
      <p:pic>
        <p:nvPicPr>
          <p:cNvPr id="10" name="Grafikk 9">
            <a:extLst>
              <a:ext uri="{FF2B5EF4-FFF2-40B4-BE49-F238E27FC236}">
                <a16:creationId xmlns:a16="http://schemas.microsoft.com/office/drawing/2014/main" id="{E76823CC-DB1B-4D46-A8C6-681C444DE9A8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989421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side med dekor orans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711D1A4-C7C4-41B6-A20A-E04C3D11A5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A51FA0B6-9C87-4C98-ADA4-2C6291B734DD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55B6032-7D05-4D83-8FF2-DBCDFB87BA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49314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81243BF-36D7-45B2-9C81-EB43C04D2E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49314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6B81A321-9273-48AB-9354-A60166B59A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23238" y="2222499"/>
            <a:ext cx="3265488" cy="3840163"/>
          </a:xfrm>
        </p:spPr>
        <p:txBody>
          <a:bodyPr wrap="square" lIns="0" tIns="0" rIns="0" bIns="0" anchor="t">
            <a:noAutofit/>
          </a:bodyPr>
          <a:lstStyle>
            <a:lvl1pPr algn="l">
              <a:defRPr sz="3800">
                <a:solidFill>
                  <a:schemeClr val="dk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41B1D584-DC2C-4F86-AE3C-330E146FFC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732776" cy="6858000"/>
          </a:xfrm>
          <a:prstGeom prst="rect">
            <a:avLst/>
          </a:prstGeom>
        </p:spPr>
      </p:pic>
      <p:pic>
        <p:nvPicPr>
          <p:cNvPr id="10" name="Grafikk 9">
            <a:extLst>
              <a:ext uri="{FF2B5EF4-FFF2-40B4-BE49-F238E27FC236}">
                <a16:creationId xmlns:a16="http://schemas.microsoft.com/office/drawing/2014/main" id="{571B3C1C-3A60-374F-B8A7-9FFE601F6D0C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274911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side med tekst, bilde og farget bakgru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3008F4AD-A83C-48A6-BA1C-97DB5AB31047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7745756" cy="6873389"/>
          </a:xfrm>
          <a:prstGeom prst="rect">
            <a:avLst/>
          </a:prstGeom>
          <a:solidFill>
            <a:srgbClr val="ADDFB3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7F1EF2F0-C0B3-4DDF-B074-ED4EBB865B32}" type="datetime1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767CD8C-E6E1-47F7-A9B5-467CDD16F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976313"/>
            <a:ext cx="3267076" cy="1057275"/>
          </a:xfrm>
        </p:spPr>
        <p:txBody>
          <a:bodyPr lIns="0" tIns="0" rIns="0" bIns="0"/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Plassholder for bilde 3">
            <a:extLst>
              <a:ext uri="{FF2B5EF4-FFF2-40B4-BE49-F238E27FC236}">
                <a16:creationId xmlns:a16="http://schemas.microsoft.com/office/drawing/2014/main" id="{B5A1E56D-AE99-4789-B24D-61210A3F24F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59288" y="976312"/>
            <a:ext cx="6932612" cy="5086351"/>
          </a:xfrm>
          <a:prstGeom prst="rect">
            <a:avLst/>
          </a:prstGeom>
          <a:solidFill>
            <a:schemeClr val="lt2"/>
          </a:solidFill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2F76D602-75E9-486D-9F94-3D7511C622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925" y="2413000"/>
            <a:ext cx="3267076" cy="3649664"/>
          </a:xfr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4" name="Plassholder for tekst 2">
            <a:extLst>
              <a:ext uri="{FF2B5EF4-FFF2-40B4-BE49-F238E27FC236}">
                <a16:creationId xmlns:a16="http://schemas.microsoft.com/office/drawing/2014/main" id="{FD0E5513-0F25-4043-A538-F261F2E8141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56129" y="976312"/>
            <a:ext cx="107722" cy="5086351"/>
          </a:xfrm>
        </p:spPr>
        <p:txBody>
          <a:bodyPr vert="vert">
            <a:spAutoFit/>
          </a:bodyPr>
          <a:lstStyle>
            <a:lvl1pPr marL="0" indent="0" algn="r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</p:spTree>
    <p:extLst>
      <p:ext uri="{BB962C8B-B14F-4D97-AF65-F5344CB8AC3E}">
        <p14:creationId xmlns:p14="http://schemas.microsoft.com/office/powerpoint/2010/main" val="112116300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side med tekst, bilde og farget bakgrunn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3008F4AD-A83C-48A6-BA1C-97DB5AB31047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7745756" cy="6873389"/>
          </a:xfrm>
          <a:prstGeom prst="rect">
            <a:avLst/>
          </a:prstGeom>
          <a:solidFill>
            <a:srgbClr val="FFC845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84F814F8-3CDD-44DD-99FC-CAF34234AF00}" type="datetime1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767CD8C-E6E1-47F7-A9B5-467CDD16F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976313"/>
            <a:ext cx="3267076" cy="1057275"/>
          </a:xfrm>
        </p:spPr>
        <p:txBody>
          <a:bodyPr lIns="0" tIns="0" rIns="0" bIns="0"/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Plassholder for bilde 3">
            <a:extLst>
              <a:ext uri="{FF2B5EF4-FFF2-40B4-BE49-F238E27FC236}">
                <a16:creationId xmlns:a16="http://schemas.microsoft.com/office/drawing/2014/main" id="{B5A1E56D-AE99-4789-B24D-61210A3F24F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59288" y="976312"/>
            <a:ext cx="6932612" cy="5086351"/>
          </a:xfrm>
          <a:prstGeom prst="rect">
            <a:avLst/>
          </a:prstGeom>
          <a:solidFill>
            <a:schemeClr val="lt2"/>
          </a:solidFill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2F76D602-75E9-486D-9F94-3D7511C622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925" y="2413000"/>
            <a:ext cx="3267076" cy="3649664"/>
          </a:xfr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4" name="Plassholder for tekst 2">
            <a:extLst>
              <a:ext uri="{FF2B5EF4-FFF2-40B4-BE49-F238E27FC236}">
                <a16:creationId xmlns:a16="http://schemas.microsoft.com/office/drawing/2014/main" id="{2C4E6FEF-2A19-41B8-8242-4CA6ED61443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56129" y="976312"/>
            <a:ext cx="107722" cy="5086351"/>
          </a:xfrm>
        </p:spPr>
        <p:txBody>
          <a:bodyPr vert="vert">
            <a:spAutoFit/>
          </a:bodyPr>
          <a:lstStyle>
            <a:lvl1pPr marL="0" indent="0" algn="r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</p:spTree>
    <p:extLst>
      <p:ext uri="{BB962C8B-B14F-4D97-AF65-F5344CB8AC3E}">
        <p14:creationId xmlns:p14="http://schemas.microsoft.com/office/powerpoint/2010/main" val="347993347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side med tekst, bilde og farget bakgrunn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3008F4AD-A83C-48A6-BA1C-97DB5AB31047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7745756" cy="6873389"/>
          </a:xfrm>
          <a:prstGeom prst="rect">
            <a:avLst/>
          </a:prstGeom>
          <a:solidFill>
            <a:srgbClr val="FF671F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01F81B52-8C46-4FD3-80AA-F8D04D565F97}" type="datetime1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767CD8C-E6E1-47F7-A9B5-467CDD16F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976313"/>
            <a:ext cx="3267076" cy="1057275"/>
          </a:xfrm>
        </p:spPr>
        <p:txBody>
          <a:bodyPr lIns="0" tIns="0" rIns="0" bIns="0"/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Plassholder for bilde 3">
            <a:extLst>
              <a:ext uri="{FF2B5EF4-FFF2-40B4-BE49-F238E27FC236}">
                <a16:creationId xmlns:a16="http://schemas.microsoft.com/office/drawing/2014/main" id="{B5A1E56D-AE99-4789-B24D-61210A3F24F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59288" y="976312"/>
            <a:ext cx="6932612" cy="5086351"/>
          </a:xfrm>
          <a:prstGeom prst="rect">
            <a:avLst/>
          </a:prstGeom>
          <a:solidFill>
            <a:schemeClr val="lt2"/>
          </a:solidFill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2F76D602-75E9-486D-9F94-3D7511C622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925" y="2413000"/>
            <a:ext cx="3267076" cy="3649664"/>
          </a:xfr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4" name="Plassholder for tekst 2">
            <a:extLst>
              <a:ext uri="{FF2B5EF4-FFF2-40B4-BE49-F238E27FC236}">
                <a16:creationId xmlns:a16="http://schemas.microsoft.com/office/drawing/2014/main" id="{9B93BCF4-D4C9-491C-A218-228C67A6BA0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56129" y="976312"/>
            <a:ext cx="107722" cy="5086351"/>
          </a:xfrm>
        </p:spPr>
        <p:txBody>
          <a:bodyPr vert="vert">
            <a:spAutoFit/>
          </a:bodyPr>
          <a:lstStyle>
            <a:lvl1pPr marL="0" indent="0" algn="r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</p:spTree>
    <p:extLst>
      <p:ext uri="{BB962C8B-B14F-4D97-AF65-F5344CB8AC3E}">
        <p14:creationId xmlns:p14="http://schemas.microsoft.com/office/powerpoint/2010/main" val="287109243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i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bilde 12">
            <a:extLst>
              <a:ext uri="{FF2B5EF4-FFF2-40B4-BE49-F238E27FC236}">
                <a16:creationId xmlns:a16="http://schemas.microsoft.com/office/drawing/2014/main" id="{9E8A3748-D9BC-4588-9124-CBF265D47AB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400" y="3606932"/>
            <a:ext cx="3657600" cy="2869415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0D477F9B-9F58-4B5C-835B-EEB557C86025}"/>
              </a:ext>
            </a:extLst>
          </p:cNvPr>
          <p:cNvSpPr>
            <a:spLocks/>
          </p:cNvSpPr>
          <p:nvPr userDrawn="1"/>
        </p:nvSpPr>
        <p:spPr>
          <a:xfrm>
            <a:off x="406400" y="0"/>
            <a:ext cx="3657600" cy="3421796"/>
          </a:xfrm>
          <a:prstGeom prst="rect">
            <a:avLst/>
          </a:prstGeom>
          <a:solidFill>
            <a:srgbClr val="ADDFB3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E0AB172-1CA3-41A2-A981-1FAE41E0AE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6925" y="976313"/>
            <a:ext cx="2905563" cy="2080894"/>
          </a:xfrm>
        </p:spPr>
        <p:txBody>
          <a:bodyPr wrap="square" lIns="0" tIns="0" rIns="0" bIns="0" anchor="b">
            <a:noAutofit/>
          </a:bodyPr>
          <a:lstStyle>
            <a:lvl1pPr algn="l">
              <a:defRPr sz="3000">
                <a:solidFill>
                  <a:schemeClr val="dk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FDA5D0A0-3330-4C0A-B64F-5D4900BE51BD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5" name="Plassholder for bilde 9">
            <a:extLst>
              <a:ext uri="{FF2B5EF4-FFF2-40B4-BE49-F238E27FC236}">
                <a16:creationId xmlns:a16="http://schemas.microsoft.com/office/drawing/2014/main" id="{84BB0569-EDCB-4706-8CA5-8F3806870E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46587" y="976312"/>
            <a:ext cx="3701262" cy="5500035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6" name="Plassholder for bilde 10">
            <a:extLst>
              <a:ext uri="{FF2B5EF4-FFF2-40B4-BE49-F238E27FC236}">
                <a16:creationId xmlns:a16="http://schemas.microsoft.com/office/drawing/2014/main" id="{54300F52-CFB3-452D-903D-15806945892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15091" y="976312"/>
            <a:ext cx="3670509" cy="3056119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7" name="Plassholder for bilde 13">
            <a:extLst>
              <a:ext uri="{FF2B5EF4-FFF2-40B4-BE49-F238E27FC236}">
                <a16:creationId xmlns:a16="http://schemas.microsoft.com/office/drawing/2014/main" id="{B7BD9287-7C8F-4BDF-BF95-F9EDB343C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15091" y="4215084"/>
            <a:ext cx="3665747" cy="2261263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4" name="Plassholder for tekst 2">
            <a:extLst>
              <a:ext uri="{FF2B5EF4-FFF2-40B4-BE49-F238E27FC236}">
                <a16:creationId xmlns:a16="http://schemas.microsoft.com/office/drawing/2014/main" id="{7F012555-5605-4B3C-A7BE-0D84B36DD3B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840358" y="976312"/>
            <a:ext cx="107722" cy="5500035"/>
          </a:xfrm>
        </p:spPr>
        <p:txBody>
          <a:bodyPr vert="vert" wrap="square">
            <a:spAutoFit/>
          </a:bodyPr>
          <a:lstStyle>
            <a:lvl1pPr marL="0" indent="0" algn="r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  <p:pic>
        <p:nvPicPr>
          <p:cNvPr id="19" name="Grafikk 18">
            <a:extLst>
              <a:ext uri="{FF2B5EF4-FFF2-40B4-BE49-F238E27FC236}">
                <a16:creationId xmlns:a16="http://schemas.microsoft.com/office/drawing/2014/main" id="{DDCA7E7D-AD05-FD42-BCB7-23DB825A3112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174418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ide med tekst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bilde 12">
            <a:extLst>
              <a:ext uri="{FF2B5EF4-FFF2-40B4-BE49-F238E27FC236}">
                <a16:creationId xmlns:a16="http://schemas.microsoft.com/office/drawing/2014/main" id="{9E8A3748-D9BC-4588-9124-CBF265D47AB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400" y="3606932"/>
            <a:ext cx="3657600" cy="2869415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0D477F9B-9F58-4B5C-835B-EEB557C86025}"/>
              </a:ext>
            </a:extLst>
          </p:cNvPr>
          <p:cNvSpPr>
            <a:spLocks/>
          </p:cNvSpPr>
          <p:nvPr userDrawn="1"/>
        </p:nvSpPr>
        <p:spPr>
          <a:xfrm>
            <a:off x="406400" y="0"/>
            <a:ext cx="3657600" cy="34217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E0AB172-1CA3-41A2-A981-1FAE41E0AE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6925" y="976313"/>
            <a:ext cx="2905563" cy="2080894"/>
          </a:xfrm>
        </p:spPr>
        <p:txBody>
          <a:bodyPr wrap="square" lIns="0" tIns="0" rIns="0" bIns="0" anchor="b">
            <a:noAutofit/>
          </a:bodyPr>
          <a:lstStyle>
            <a:lvl1pPr algn="l">
              <a:defRPr sz="300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CC385112-3A4D-4279-8CF6-408D59E1AB50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Plassholder for bilde 9">
            <a:extLst>
              <a:ext uri="{FF2B5EF4-FFF2-40B4-BE49-F238E27FC236}">
                <a16:creationId xmlns:a16="http://schemas.microsoft.com/office/drawing/2014/main" id="{B34D56FD-DF40-4637-BDBF-FC95E4ED6D8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46587" y="976312"/>
            <a:ext cx="3701262" cy="5500035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1" name="Plassholder for bilde 10">
            <a:extLst>
              <a:ext uri="{FF2B5EF4-FFF2-40B4-BE49-F238E27FC236}">
                <a16:creationId xmlns:a16="http://schemas.microsoft.com/office/drawing/2014/main" id="{2E917D5D-4BEE-49A6-8234-EED58A0D2F5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15091" y="976312"/>
            <a:ext cx="3670509" cy="3056119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4" name="Plassholder for bilde 13">
            <a:extLst>
              <a:ext uri="{FF2B5EF4-FFF2-40B4-BE49-F238E27FC236}">
                <a16:creationId xmlns:a16="http://schemas.microsoft.com/office/drawing/2014/main" id="{44A564FB-6BFF-44C9-A3F6-BAB13C57C27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15091" y="4215084"/>
            <a:ext cx="3665747" cy="2261263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6" name="Plassholder for tekst 2">
            <a:extLst>
              <a:ext uri="{FF2B5EF4-FFF2-40B4-BE49-F238E27FC236}">
                <a16:creationId xmlns:a16="http://schemas.microsoft.com/office/drawing/2014/main" id="{9D6CF72D-7AE9-41DC-9027-08F669A56B7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840358" y="976312"/>
            <a:ext cx="107722" cy="5500035"/>
          </a:xfrm>
        </p:spPr>
        <p:txBody>
          <a:bodyPr vert="vert" wrap="square">
            <a:spAutoFit/>
          </a:bodyPr>
          <a:lstStyle>
            <a:lvl1pPr marL="0" indent="0" algn="r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  <p:pic>
        <p:nvPicPr>
          <p:cNvPr id="17" name="Grafikk 16">
            <a:extLst>
              <a:ext uri="{FF2B5EF4-FFF2-40B4-BE49-F238E27FC236}">
                <a16:creationId xmlns:a16="http://schemas.microsoft.com/office/drawing/2014/main" id="{EF2B3289-D73E-9041-81C4-599835800BDA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266044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ide med tekst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0D477F9B-9F58-4B5C-835B-EEB557C86025}"/>
              </a:ext>
            </a:extLst>
          </p:cNvPr>
          <p:cNvSpPr>
            <a:spLocks/>
          </p:cNvSpPr>
          <p:nvPr userDrawn="1"/>
        </p:nvSpPr>
        <p:spPr>
          <a:xfrm>
            <a:off x="8129816" y="3828502"/>
            <a:ext cx="3657600" cy="30294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3" name="Plassholder for bilde 12">
            <a:extLst>
              <a:ext uri="{FF2B5EF4-FFF2-40B4-BE49-F238E27FC236}">
                <a16:creationId xmlns:a16="http://schemas.microsoft.com/office/drawing/2014/main" id="{9E8A3748-D9BC-4588-9124-CBF265D47AB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400" y="976313"/>
            <a:ext cx="3671290" cy="5500034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BBE63069-959E-4D9D-BB1B-BE05AA3FDCEE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E0AB172-1CA3-41A2-A981-1FAE41E0AE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520341" y="4140200"/>
            <a:ext cx="2905563" cy="2386373"/>
          </a:xfrm>
        </p:spPr>
        <p:txBody>
          <a:bodyPr wrap="square" lIns="0" tIns="0" rIns="0" bIns="0" anchor="t">
            <a:noAutofit/>
          </a:bodyPr>
          <a:lstStyle>
            <a:lvl1pPr algn="l">
              <a:defRPr sz="300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5" name="Plassholder for bilde 9">
            <a:extLst>
              <a:ext uri="{FF2B5EF4-FFF2-40B4-BE49-F238E27FC236}">
                <a16:creationId xmlns:a16="http://schemas.microsoft.com/office/drawing/2014/main" id="{B6AF3DD8-E45D-4380-89B6-AF13DBE2E7A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246588" y="3828502"/>
            <a:ext cx="3697374" cy="2647845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1" name="Plassholder for bilde 9">
            <a:extLst>
              <a:ext uri="{FF2B5EF4-FFF2-40B4-BE49-F238E27FC236}">
                <a16:creationId xmlns:a16="http://schemas.microsoft.com/office/drawing/2014/main" id="{4846D70E-D806-42B4-A444-56599B3EDD1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46586" y="976312"/>
            <a:ext cx="7539013" cy="2683091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4" name="Plassholder for tekst 2">
            <a:extLst>
              <a:ext uri="{FF2B5EF4-FFF2-40B4-BE49-F238E27FC236}">
                <a16:creationId xmlns:a16="http://schemas.microsoft.com/office/drawing/2014/main" id="{A159A91A-2F6D-4739-AE54-9831A38C863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57468" y="976312"/>
            <a:ext cx="107722" cy="5500035"/>
          </a:xfrm>
        </p:spPr>
        <p:txBody>
          <a:bodyPr vert="vert" wrap="square">
            <a:spAutoFit/>
          </a:bodyPr>
          <a:lstStyle>
            <a:lvl1pPr marL="0" indent="0" algn="l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</p:spTree>
    <p:extLst>
      <p:ext uri="{BB962C8B-B14F-4D97-AF65-F5344CB8AC3E}">
        <p14:creationId xmlns:p14="http://schemas.microsoft.com/office/powerpoint/2010/main" val="325912914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bilde 12">
            <a:extLst>
              <a:ext uri="{FF2B5EF4-FFF2-40B4-BE49-F238E27FC236}">
                <a16:creationId xmlns:a16="http://schemas.microsoft.com/office/drawing/2014/main" id="{9E8A3748-D9BC-4588-9124-CBF265D47AB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400" y="976313"/>
            <a:ext cx="3671290" cy="2485175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0C150E18-AA93-43E3-AC46-77D640A04D5A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5" name="Plassholder for bilde 9">
            <a:extLst>
              <a:ext uri="{FF2B5EF4-FFF2-40B4-BE49-F238E27FC236}">
                <a16:creationId xmlns:a16="http://schemas.microsoft.com/office/drawing/2014/main" id="{B6AF3DD8-E45D-4380-89B6-AF13DBE2E7A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06400" y="3606933"/>
            <a:ext cx="3671290" cy="2869415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1" name="Plassholder for bilde 9">
            <a:extLst>
              <a:ext uri="{FF2B5EF4-FFF2-40B4-BE49-F238E27FC236}">
                <a16:creationId xmlns:a16="http://schemas.microsoft.com/office/drawing/2014/main" id="{15DF30A0-9F84-452A-A444-45F063653C3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46587" y="976313"/>
            <a:ext cx="3701262" cy="5500035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2" name="Plassholder for bilde 10">
            <a:extLst>
              <a:ext uri="{FF2B5EF4-FFF2-40B4-BE49-F238E27FC236}">
                <a16:creationId xmlns:a16="http://schemas.microsoft.com/office/drawing/2014/main" id="{526789EA-E13E-48A6-BBE3-130F44F5D27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15091" y="976313"/>
            <a:ext cx="3670509" cy="3056119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8" name="Plassholder for bilde 13">
            <a:extLst>
              <a:ext uri="{FF2B5EF4-FFF2-40B4-BE49-F238E27FC236}">
                <a16:creationId xmlns:a16="http://schemas.microsoft.com/office/drawing/2014/main" id="{D541F21A-E060-4545-9758-1ADA5E8A9E3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091" y="4215085"/>
            <a:ext cx="3665747" cy="2261263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4" name="Plassholder for tekst 2">
            <a:extLst>
              <a:ext uri="{FF2B5EF4-FFF2-40B4-BE49-F238E27FC236}">
                <a16:creationId xmlns:a16="http://schemas.microsoft.com/office/drawing/2014/main" id="{EDAC5FE1-F477-4417-B183-216CDB7FFF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57468" y="976312"/>
            <a:ext cx="107722" cy="5500035"/>
          </a:xfrm>
        </p:spPr>
        <p:txBody>
          <a:bodyPr vert="vert" wrap="square">
            <a:spAutoFit/>
          </a:bodyPr>
          <a:lstStyle>
            <a:lvl1pPr marL="0" indent="0" algn="l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  <p:pic>
        <p:nvPicPr>
          <p:cNvPr id="16" name="Grafikk 15">
            <a:extLst>
              <a:ext uri="{FF2B5EF4-FFF2-40B4-BE49-F238E27FC236}">
                <a16:creationId xmlns:a16="http://schemas.microsoft.com/office/drawing/2014/main" id="{E8FAE8B1-32ED-5C4A-AA20-DC08D54EF6BE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583973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FD02CBD6-E0D6-437A-B3ED-7511445B7987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5" name="Plassholder for bilde 9">
            <a:extLst>
              <a:ext uri="{FF2B5EF4-FFF2-40B4-BE49-F238E27FC236}">
                <a16:creationId xmlns:a16="http://schemas.microsoft.com/office/drawing/2014/main" id="{B6AF3DD8-E45D-4380-89B6-AF13DBE2E7A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250727" y="976313"/>
            <a:ext cx="7530112" cy="2664965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6" name="Plassholder for bilde 9">
            <a:extLst>
              <a:ext uri="{FF2B5EF4-FFF2-40B4-BE49-F238E27FC236}">
                <a16:creationId xmlns:a16="http://schemas.microsoft.com/office/drawing/2014/main" id="{60C59660-6576-47AC-AB0D-A04DB9B8FAB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250726" y="3828466"/>
            <a:ext cx="3697374" cy="2647879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1" name="Plassholder for bilde 9">
            <a:extLst>
              <a:ext uri="{FF2B5EF4-FFF2-40B4-BE49-F238E27FC236}">
                <a16:creationId xmlns:a16="http://schemas.microsoft.com/office/drawing/2014/main" id="{8A8E1D40-0565-408A-B029-F0A20B771F3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113229" y="3828465"/>
            <a:ext cx="3667609" cy="2647879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20" name="Plassholder for bilde 12">
            <a:extLst>
              <a:ext uri="{FF2B5EF4-FFF2-40B4-BE49-F238E27FC236}">
                <a16:creationId xmlns:a16="http://schemas.microsoft.com/office/drawing/2014/main" id="{BD103718-D9CD-43DD-812C-E66A6998356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400" y="976313"/>
            <a:ext cx="3671290" cy="5500034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0" name="Plassholder for tekst 2">
            <a:extLst>
              <a:ext uri="{FF2B5EF4-FFF2-40B4-BE49-F238E27FC236}">
                <a16:creationId xmlns:a16="http://schemas.microsoft.com/office/drawing/2014/main" id="{9D18FA0C-C228-4F44-82C8-F0AEBBED9B6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57468" y="976312"/>
            <a:ext cx="107722" cy="5500035"/>
          </a:xfrm>
        </p:spPr>
        <p:txBody>
          <a:bodyPr vert="vert" wrap="square">
            <a:spAutoFit/>
          </a:bodyPr>
          <a:lstStyle>
            <a:lvl1pPr marL="0" indent="0" algn="l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  <p:pic>
        <p:nvPicPr>
          <p:cNvPr id="13" name="Grafikk 12">
            <a:extLst>
              <a:ext uri="{FF2B5EF4-FFF2-40B4-BE49-F238E27FC236}">
                <a16:creationId xmlns:a16="http://schemas.microsoft.com/office/drawing/2014/main" id="{9B145B0F-189F-DA43-B9D2-107B5875D370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94426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, tekst og teks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0076" y="1800226"/>
            <a:ext cx="5250657" cy="600075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380970" indent="0">
              <a:buNone/>
              <a:defRPr sz="1667" b="1"/>
            </a:lvl2pPr>
            <a:lvl3pPr marL="761940" indent="0">
              <a:buNone/>
              <a:defRPr sz="1500" b="1"/>
            </a:lvl3pPr>
            <a:lvl4pPr marL="1142908" indent="0">
              <a:buNone/>
              <a:defRPr sz="1333" b="1"/>
            </a:lvl4pPr>
            <a:lvl5pPr marL="1523878" indent="0">
              <a:buNone/>
              <a:defRPr sz="1333" b="1"/>
            </a:lvl5pPr>
            <a:lvl6pPr marL="1904848" indent="0">
              <a:buNone/>
              <a:defRPr sz="1333" b="1"/>
            </a:lvl6pPr>
            <a:lvl7pPr marL="2285818" indent="0">
              <a:buNone/>
              <a:defRPr sz="1333" b="1"/>
            </a:lvl7pPr>
            <a:lvl8pPr marL="2666787" indent="0">
              <a:buNone/>
              <a:defRPr sz="1333" b="1"/>
            </a:lvl8pPr>
            <a:lvl9pPr marL="3047756" indent="0">
              <a:buNone/>
              <a:defRPr sz="1333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00076" y="2550321"/>
            <a:ext cx="5250657" cy="3750469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0076" y="900113"/>
            <a:ext cx="5250657" cy="72009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70049127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39044BC9-C33A-4F00-AB6A-0402DE569525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Plassholder for bilde 9">
            <a:extLst>
              <a:ext uri="{FF2B5EF4-FFF2-40B4-BE49-F238E27FC236}">
                <a16:creationId xmlns:a16="http://schemas.microsoft.com/office/drawing/2014/main" id="{1FF6A982-1173-45CF-8196-51E2C53BD43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245369" y="976313"/>
            <a:ext cx="3701262" cy="5500032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3" name="Plassholder for bilde 9">
            <a:extLst>
              <a:ext uri="{FF2B5EF4-FFF2-40B4-BE49-F238E27FC236}">
                <a16:creationId xmlns:a16="http://schemas.microsoft.com/office/drawing/2014/main" id="{DD90688F-0610-4E9F-91A1-4B902D1D102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09342" y="976313"/>
            <a:ext cx="3671496" cy="5500032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1" name="Plassholder for bilde 12">
            <a:extLst>
              <a:ext uri="{FF2B5EF4-FFF2-40B4-BE49-F238E27FC236}">
                <a16:creationId xmlns:a16="http://schemas.microsoft.com/office/drawing/2014/main" id="{DD9A2790-C9EC-4CCF-898E-A5B002E7EEB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400" y="976313"/>
            <a:ext cx="3671290" cy="5500034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0" name="Plassholder for tekst 2">
            <a:extLst>
              <a:ext uri="{FF2B5EF4-FFF2-40B4-BE49-F238E27FC236}">
                <a16:creationId xmlns:a16="http://schemas.microsoft.com/office/drawing/2014/main" id="{FCA85F74-51BB-4D73-8859-F8FDD47BFE2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57468" y="976312"/>
            <a:ext cx="107722" cy="5500035"/>
          </a:xfrm>
        </p:spPr>
        <p:txBody>
          <a:bodyPr vert="vert" wrap="square">
            <a:spAutoFit/>
          </a:bodyPr>
          <a:lstStyle>
            <a:lvl1pPr marL="0" indent="0" algn="l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  <p:pic>
        <p:nvPicPr>
          <p:cNvPr id="12" name="Grafikk 11">
            <a:extLst>
              <a:ext uri="{FF2B5EF4-FFF2-40B4-BE49-F238E27FC236}">
                <a16:creationId xmlns:a16="http://schemas.microsoft.com/office/drawing/2014/main" id="{4CB1699F-D6F9-834B-8C3F-53277732D091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719805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352F1F83-84DB-401C-8D12-940686D604DF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Plassholder for bilde 12">
            <a:extLst>
              <a:ext uri="{FF2B5EF4-FFF2-40B4-BE49-F238E27FC236}">
                <a16:creationId xmlns:a16="http://schemas.microsoft.com/office/drawing/2014/main" id="{EE68CC7D-AA5C-4399-BA6B-E5EBFF4DB48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400" y="976313"/>
            <a:ext cx="5603340" cy="5500034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2" name="Plassholder for bilde 12">
            <a:extLst>
              <a:ext uri="{FF2B5EF4-FFF2-40B4-BE49-F238E27FC236}">
                <a16:creationId xmlns:a16="http://schemas.microsoft.com/office/drawing/2014/main" id="{38118730-7423-4715-8302-6A6FCBEE598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82262" y="976313"/>
            <a:ext cx="5603340" cy="5500034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9" name="Plassholder for tekst 2">
            <a:extLst>
              <a:ext uri="{FF2B5EF4-FFF2-40B4-BE49-F238E27FC236}">
                <a16:creationId xmlns:a16="http://schemas.microsoft.com/office/drawing/2014/main" id="{43924911-BEA6-4E57-BF82-1AF6C36DBB2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57468" y="976312"/>
            <a:ext cx="107722" cy="5500035"/>
          </a:xfrm>
        </p:spPr>
        <p:txBody>
          <a:bodyPr vert="vert" wrap="square">
            <a:spAutoFit/>
          </a:bodyPr>
          <a:lstStyle>
            <a:lvl1pPr marL="0" indent="0" algn="l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86ECAC1C-5713-E146-A144-378A1359694C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706508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tt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1A638D09-8691-4371-A556-A09705D5D536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Plassholder for bilde 12">
            <a:extLst>
              <a:ext uri="{FF2B5EF4-FFF2-40B4-BE49-F238E27FC236}">
                <a16:creationId xmlns:a16="http://schemas.microsoft.com/office/drawing/2014/main" id="{0D544DBE-4338-44E3-A81D-6B4E650A7A6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400" y="976313"/>
            <a:ext cx="11374438" cy="5500034"/>
          </a:xfrm>
          <a:prstGeom prst="rect">
            <a:avLst/>
          </a:pr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C81084AF-41EE-488F-A708-C8CAD2EA5E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57468" y="976312"/>
            <a:ext cx="107722" cy="5500035"/>
          </a:xfrm>
        </p:spPr>
        <p:txBody>
          <a:bodyPr vert="vert" wrap="square">
            <a:spAutoFit/>
          </a:bodyPr>
          <a:lstStyle>
            <a:lvl1pPr marL="0" indent="0" algn="l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0AAED46D-CB9C-AF40-AD84-A77B11F753B8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685409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jul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015AA92-CFF3-4A68-B2C4-B3E6548DB70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96926" y="1884680"/>
            <a:ext cx="2688585" cy="307777"/>
          </a:xfr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Mellomtittel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B5E21243-0A53-4B5E-8D26-9A5A7EC3969A}" type="datetime1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767CD8C-E6E1-47F7-A9B5-467CDD16F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864037"/>
            <a:ext cx="8763000" cy="584775"/>
          </a:xfrm>
        </p:spPr>
        <p:txBody>
          <a:bodyPr lIns="0" tIns="0" rIns="0" bIns="0" anchor="t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1" name="Plassholder for innhold 2">
            <a:extLst>
              <a:ext uri="{FF2B5EF4-FFF2-40B4-BE49-F238E27FC236}">
                <a16:creationId xmlns:a16="http://schemas.microsoft.com/office/drawing/2014/main" id="{D1A5C7BA-CCD2-40AB-95E9-773DE7FB605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96926" y="2202180"/>
            <a:ext cx="2688585" cy="1484034"/>
          </a:xfr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tekst 2">
            <a:extLst>
              <a:ext uri="{FF2B5EF4-FFF2-40B4-BE49-F238E27FC236}">
                <a16:creationId xmlns:a16="http://schemas.microsoft.com/office/drawing/2014/main" id="{A9A60586-33CD-4C12-BD20-BB7CB6F21AC8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796926" y="4265890"/>
            <a:ext cx="2688585" cy="307777"/>
          </a:xfr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Mellomtittel</a:t>
            </a:r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2C109AC8-F42F-45B9-9DF9-AE98BCB84EED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796926" y="4583390"/>
            <a:ext cx="2688585" cy="1484034"/>
          </a:xfr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8" name="Plassholder for tekst 2">
            <a:extLst>
              <a:ext uri="{FF2B5EF4-FFF2-40B4-BE49-F238E27FC236}">
                <a16:creationId xmlns:a16="http://schemas.microsoft.com/office/drawing/2014/main" id="{9474D08C-07FB-4270-9741-F3F245E9DC5A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700135" y="1884680"/>
            <a:ext cx="2688585" cy="307777"/>
          </a:xfr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Mellomtittel</a:t>
            </a:r>
          </a:p>
        </p:txBody>
      </p:sp>
      <p:sp>
        <p:nvSpPr>
          <p:cNvPr id="19" name="Plassholder for innhold 2">
            <a:extLst>
              <a:ext uri="{FF2B5EF4-FFF2-40B4-BE49-F238E27FC236}">
                <a16:creationId xmlns:a16="http://schemas.microsoft.com/office/drawing/2014/main" id="{E69F2686-45C5-4D95-9EAF-D46D534ED3D5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8700135" y="2202180"/>
            <a:ext cx="2688585" cy="1484034"/>
          </a:xfr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0" name="Plassholder for tekst 2">
            <a:extLst>
              <a:ext uri="{FF2B5EF4-FFF2-40B4-BE49-F238E27FC236}">
                <a16:creationId xmlns:a16="http://schemas.microsoft.com/office/drawing/2014/main" id="{3FF69A63-78FB-49C5-852E-1C7559E69BFA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8700135" y="4265890"/>
            <a:ext cx="2688585" cy="307777"/>
          </a:xfr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Mellomtittel</a:t>
            </a:r>
          </a:p>
        </p:txBody>
      </p:sp>
      <p:sp>
        <p:nvSpPr>
          <p:cNvPr id="21" name="Plassholder for innhold 2">
            <a:extLst>
              <a:ext uri="{FF2B5EF4-FFF2-40B4-BE49-F238E27FC236}">
                <a16:creationId xmlns:a16="http://schemas.microsoft.com/office/drawing/2014/main" id="{827A236F-F1E3-43A3-AEB2-F8044067EF4B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8700135" y="4583390"/>
            <a:ext cx="2688585" cy="1484034"/>
          </a:xfr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5636282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2CE88AE4-D6DC-47D7-95AB-19E519618CFA}" type="datetime1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5859161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gu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EB01A1F4-F13F-4618-960E-81237E5EA3BF}" type="datetime1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767CD8C-E6E1-47F7-A9B5-467CDD16F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864037"/>
            <a:ext cx="8763000" cy="1169551"/>
          </a:xfrm>
        </p:spPr>
        <p:txBody>
          <a:bodyPr lIns="0" tIns="0" rIns="0" bIns="0" anchor="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8" name="Plassholder for tekst 17">
            <a:extLst>
              <a:ext uri="{FF2B5EF4-FFF2-40B4-BE49-F238E27FC236}">
                <a16:creationId xmlns:a16="http://schemas.microsoft.com/office/drawing/2014/main" id="{980D9618-CA67-4EEF-97EF-B19AAD4D2B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6925" y="2550667"/>
            <a:ext cx="2077202" cy="1141200"/>
          </a:xfrm>
          <a:custGeom>
            <a:avLst/>
            <a:gdLst>
              <a:gd name="connsiteX0" fmla="*/ 0 w 2077202"/>
              <a:gd name="connsiteY0" fmla="*/ 0 h 1141200"/>
              <a:gd name="connsiteX1" fmla="*/ 1925815 w 2077202"/>
              <a:gd name="connsiteY1" fmla="*/ 0 h 1141200"/>
              <a:gd name="connsiteX2" fmla="*/ 1925815 w 2077202"/>
              <a:gd name="connsiteY2" fmla="*/ 413919 h 1141200"/>
              <a:gd name="connsiteX3" fmla="*/ 2077202 w 2077202"/>
              <a:gd name="connsiteY3" fmla="*/ 570600 h 1141200"/>
              <a:gd name="connsiteX4" fmla="*/ 1925815 w 2077202"/>
              <a:gd name="connsiteY4" fmla="*/ 727406 h 1141200"/>
              <a:gd name="connsiteX5" fmla="*/ 1925815 w 2077202"/>
              <a:gd name="connsiteY5" fmla="*/ 1141200 h 1141200"/>
              <a:gd name="connsiteX6" fmla="*/ 0 w 2077202"/>
              <a:gd name="connsiteY6" fmla="*/ 1141200 h 114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77202" h="1141200">
                <a:moveTo>
                  <a:pt x="0" y="0"/>
                </a:moveTo>
                <a:lnTo>
                  <a:pt x="1925815" y="0"/>
                </a:lnTo>
                <a:lnTo>
                  <a:pt x="1925815" y="413919"/>
                </a:lnTo>
                <a:lnTo>
                  <a:pt x="2077202" y="570600"/>
                </a:lnTo>
                <a:lnTo>
                  <a:pt x="1925815" y="727406"/>
                </a:lnTo>
                <a:lnTo>
                  <a:pt x="1925815" y="1141200"/>
                </a:lnTo>
                <a:lnTo>
                  <a:pt x="0" y="1141200"/>
                </a:lnTo>
                <a:close/>
              </a:path>
            </a:pathLst>
          </a:custGeom>
          <a:solidFill>
            <a:srgbClr val="6CACE4"/>
          </a:solidFill>
        </p:spPr>
        <p:txBody>
          <a:bodyPr wrap="square" lIns="180000" rIns="324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Sett inn mellomtittel</a:t>
            </a:r>
          </a:p>
        </p:txBody>
      </p:sp>
      <p:sp>
        <p:nvSpPr>
          <p:cNvPr id="21" name="Plassholder for tekst 20">
            <a:extLst>
              <a:ext uri="{FF2B5EF4-FFF2-40B4-BE49-F238E27FC236}">
                <a16:creationId xmlns:a16="http://schemas.microsoft.com/office/drawing/2014/main" id="{294781A3-E6F4-4901-810C-582E1E51DBA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70263" y="2550667"/>
            <a:ext cx="2077202" cy="1141200"/>
          </a:xfrm>
          <a:custGeom>
            <a:avLst/>
            <a:gdLst>
              <a:gd name="connsiteX0" fmla="*/ 0 w 2077202"/>
              <a:gd name="connsiteY0" fmla="*/ 0 h 1141200"/>
              <a:gd name="connsiteX1" fmla="*/ 1925815 w 2077202"/>
              <a:gd name="connsiteY1" fmla="*/ 0 h 1141200"/>
              <a:gd name="connsiteX2" fmla="*/ 1925815 w 2077202"/>
              <a:gd name="connsiteY2" fmla="*/ 413919 h 1141200"/>
              <a:gd name="connsiteX3" fmla="*/ 2077202 w 2077202"/>
              <a:gd name="connsiteY3" fmla="*/ 570600 h 1141200"/>
              <a:gd name="connsiteX4" fmla="*/ 1925815 w 2077202"/>
              <a:gd name="connsiteY4" fmla="*/ 727406 h 1141200"/>
              <a:gd name="connsiteX5" fmla="*/ 1925815 w 2077202"/>
              <a:gd name="connsiteY5" fmla="*/ 1141200 h 1141200"/>
              <a:gd name="connsiteX6" fmla="*/ 0 w 2077202"/>
              <a:gd name="connsiteY6" fmla="*/ 1141200 h 114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77202" h="1141200">
                <a:moveTo>
                  <a:pt x="0" y="0"/>
                </a:moveTo>
                <a:lnTo>
                  <a:pt x="1925815" y="0"/>
                </a:lnTo>
                <a:lnTo>
                  <a:pt x="1925815" y="413919"/>
                </a:lnTo>
                <a:lnTo>
                  <a:pt x="2077202" y="570600"/>
                </a:lnTo>
                <a:lnTo>
                  <a:pt x="1925815" y="727406"/>
                </a:lnTo>
                <a:lnTo>
                  <a:pt x="1925815" y="1141200"/>
                </a:lnTo>
                <a:lnTo>
                  <a:pt x="0" y="1141200"/>
                </a:lnTo>
                <a:close/>
              </a:path>
            </a:pathLst>
          </a:custGeom>
          <a:solidFill>
            <a:srgbClr val="FFC845">
              <a:alpha val="80000"/>
            </a:srgbClr>
          </a:solidFill>
        </p:spPr>
        <p:txBody>
          <a:bodyPr wrap="square" lIns="180000" rIns="324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Sett inn mellomtittel</a:t>
            </a:r>
          </a:p>
        </p:txBody>
      </p:sp>
      <p:sp>
        <p:nvSpPr>
          <p:cNvPr id="22" name="Plassholder for tekst 21">
            <a:extLst>
              <a:ext uri="{FF2B5EF4-FFF2-40B4-BE49-F238E27FC236}">
                <a16:creationId xmlns:a16="http://schemas.microsoft.com/office/drawing/2014/main" id="{F43E154C-A850-46AE-94EE-7DA3A017EDA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48427" y="2550667"/>
            <a:ext cx="2077202" cy="1141200"/>
          </a:xfrm>
          <a:custGeom>
            <a:avLst/>
            <a:gdLst>
              <a:gd name="connsiteX0" fmla="*/ 0 w 2077202"/>
              <a:gd name="connsiteY0" fmla="*/ 0 h 1141200"/>
              <a:gd name="connsiteX1" fmla="*/ 1925815 w 2077202"/>
              <a:gd name="connsiteY1" fmla="*/ 0 h 1141200"/>
              <a:gd name="connsiteX2" fmla="*/ 1925815 w 2077202"/>
              <a:gd name="connsiteY2" fmla="*/ 413919 h 1141200"/>
              <a:gd name="connsiteX3" fmla="*/ 2077202 w 2077202"/>
              <a:gd name="connsiteY3" fmla="*/ 570600 h 1141200"/>
              <a:gd name="connsiteX4" fmla="*/ 1925815 w 2077202"/>
              <a:gd name="connsiteY4" fmla="*/ 727406 h 1141200"/>
              <a:gd name="connsiteX5" fmla="*/ 1925815 w 2077202"/>
              <a:gd name="connsiteY5" fmla="*/ 1141200 h 1141200"/>
              <a:gd name="connsiteX6" fmla="*/ 0 w 2077202"/>
              <a:gd name="connsiteY6" fmla="*/ 1141200 h 114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77202" h="1141200">
                <a:moveTo>
                  <a:pt x="0" y="0"/>
                </a:moveTo>
                <a:lnTo>
                  <a:pt x="1925815" y="0"/>
                </a:lnTo>
                <a:lnTo>
                  <a:pt x="1925815" y="413919"/>
                </a:lnTo>
                <a:lnTo>
                  <a:pt x="2077202" y="570600"/>
                </a:lnTo>
                <a:lnTo>
                  <a:pt x="1925815" y="727406"/>
                </a:lnTo>
                <a:lnTo>
                  <a:pt x="1925815" y="1141200"/>
                </a:lnTo>
                <a:lnTo>
                  <a:pt x="0" y="1141200"/>
                </a:lnTo>
                <a:close/>
              </a:path>
            </a:pathLst>
          </a:custGeom>
          <a:solidFill>
            <a:srgbClr val="FF671F">
              <a:alpha val="80000"/>
            </a:srgbClr>
          </a:solidFill>
        </p:spPr>
        <p:txBody>
          <a:bodyPr wrap="square" lIns="180000" rIns="324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Sett inn mellomtittel</a:t>
            </a:r>
          </a:p>
        </p:txBody>
      </p:sp>
      <p:sp>
        <p:nvSpPr>
          <p:cNvPr id="23" name="Plassholder for tekst 22">
            <a:extLst>
              <a:ext uri="{FF2B5EF4-FFF2-40B4-BE49-F238E27FC236}">
                <a16:creationId xmlns:a16="http://schemas.microsoft.com/office/drawing/2014/main" id="{0B365A76-FEDD-4EE5-8005-0FEC4515D9E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26591" y="2550667"/>
            <a:ext cx="2077202" cy="1141200"/>
          </a:xfrm>
          <a:custGeom>
            <a:avLst/>
            <a:gdLst>
              <a:gd name="connsiteX0" fmla="*/ 0 w 2077202"/>
              <a:gd name="connsiteY0" fmla="*/ 0 h 1141200"/>
              <a:gd name="connsiteX1" fmla="*/ 1925815 w 2077202"/>
              <a:gd name="connsiteY1" fmla="*/ 0 h 1141200"/>
              <a:gd name="connsiteX2" fmla="*/ 1925815 w 2077202"/>
              <a:gd name="connsiteY2" fmla="*/ 413919 h 1141200"/>
              <a:gd name="connsiteX3" fmla="*/ 2077202 w 2077202"/>
              <a:gd name="connsiteY3" fmla="*/ 570600 h 1141200"/>
              <a:gd name="connsiteX4" fmla="*/ 1925815 w 2077202"/>
              <a:gd name="connsiteY4" fmla="*/ 727406 h 1141200"/>
              <a:gd name="connsiteX5" fmla="*/ 1925815 w 2077202"/>
              <a:gd name="connsiteY5" fmla="*/ 1141200 h 1141200"/>
              <a:gd name="connsiteX6" fmla="*/ 0 w 2077202"/>
              <a:gd name="connsiteY6" fmla="*/ 1141200 h 114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77202" h="1141200">
                <a:moveTo>
                  <a:pt x="0" y="0"/>
                </a:moveTo>
                <a:lnTo>
                  <a:pt x="1925815" y="0"/>
                </a:lnTo>
                <a:lnTo>
                  <a:pt x="1925815" y="413919"/>
                </a:lnTo>
                <a:lnTo>
                  <a:pt x="2077202" y="570600"/>
                </a:lnTo>
                <a:lnTo>
                  <a:pt x="1925815" y="727406"/>
                </a:lnTo>
                <a:lnTo>
                  <a:pt x="1925815" y="1141200"/>
                </a:lnTo>
                <a:lnTo>
                  <a:pt x="0" y="1141200"/>
                </a:lnTo>
                <a:close/>
              </a:path>
            </a:pathLst>
          </a:custGeom>
          <a:solidFill>
            <a:srgbClr val="BFCED6">
              <a:alpha val="80000"/>
            </a:srgbClr>
          </a:solidFill>
        </p:spPr>
        <p:txBody>
          <a:bodyPr wrap="square" lIns="180000" rIns="324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Sett inn mellomtittel</a:t>
            </a:r>
          </a:p>
        </p:txBody>
      </p:sp>
      <p:sp>
        <p:nvSpPr>
          <p:cNvPr id="24" name="Plassholder for tekst 23">
            <a:extLst>
              <a:ext uri="{FF2B5EF4-FFF2-40B4-BE49-F238E27FC236}">
                <a16:creationId xmlns:a16="http://schemas.microsoft.com/office/drawing/2014/main" id="{FAF72941-2213-48F9-A258-464DB4AE06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504755" y="2550667"/>
            <a:ext cx="2077202" cy="1141200"/>
          </a:xfrm>
          <a:custGeom>
            <a:avLst/>
            <a:gdLst>
              <a:gd name="connsiteX0" fmla="*/ 0 w 2077202"/>
              <a:gd name="connsiteY0" fmla="*/ 0 h 1141200"/>
              <a:gd name="connsiteX1" fmla="*/ 1925815 w 2077202"/>
              <a:gd name="connsiteY1" fmla="*/ 0 h 1141200"/>
              <a:gd name="connsiteX2" fmla="*/ 1925815 w 2077202"/>
              <a:gd name="connsiteY2" fmla="*/ 413919 h 1141200"/>
              <a:gd name="connsiteX3" fmla="*/ 2077202 w 2077202"/>
              <a:gd name="connsiteY3" fmla="*/ 570600 h 1141200"/>
              <a:gd name="connsiteX4" fmla="*/ 1925815 w 2077202"/>
              <a:gd name="connsiteY4" fmla="*/ 727406 h 1141200"/>
              <a:gd name="connsiteX5" fmla="*/ 1925815 w 2077202"/>
              <a:gd name="connsiteY5" fmla="*/ 1141200 h 1141200"/>
              <a:gd name="connsiteX6" fmla="*/ 0 w 2077202"/>
              <a:gd name="connsiteY6" fmla="*/ 1141200 h 114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077202" h="1141200">
                <a:moveTo>
                  <a:pt x="0" y="0"/>
                </a:moveTo>
                <a:lnTo>
                  <a:pt x="1925815" y="0"/>
                </a:lnTo>
                <a:lnTo>
                  <a:pt x="1925815" y="413919"/>
                </a:lnTo>
                <a:lnTo>
                  <a:pt x="2077202" y="570600"/>
                </a:lnTo>
                <a:lnTo>
                  <a:pt x="1925815" y="727406"/>
                </a:lnTo>
                <a:lnTo>
                  <a:pt x="1925815" y="1141200"/>
                </a:lnTo>
                <a:lnTo>
                  <a:pt x="0" y="1141200"/>
                </a:lnTo>
                <a:close/>
              </a:path>
            </a:pathLst>
          </a:custGeom>
          <a:solidFill>
            <a:srgbClr val="6FA287">
              <a:alpha val="60000"/>
            </a:srgbClr>
          </a:solidFill>
        </p:spPr>
        <p:txBody>
          <a:bodyPr wrap="square" lIns="180000" rIns="324000" anchor="ctr">
            <a:no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Sett inn mellomtittel</a:t>
            </a:r>
          </a:p>
        </p:txBody>
      </p:sp>
      <p:sp>
        <p:nvSpPr>
          <p:cNvPr id="26" name="Plassholder for tekst 25">
            <a:extLst>
              <a:ext uri="{FF2B5EF4-FFF2-40B4-BE49-F238E27FC236}">
                <a16:creationId xmlns:a16="http://schemas.microsoft.com/office/drawing/2014/main" id="{B683161D-B5CD-4402-B040-A0C53012115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96925" y="4099487"/>
            <a:ext cx="1946275" cy="1963175"/>
          </a:xfrm>
        </p:spPr>
        <p:txBody>
          <a:bodyPr/>
          <a:lstStyle>
            <a:lvl1pPr marL="0" indent="0">
              <a:buNone/>
              <a:defRPr/>
            </a:lvl1pPr>
            <a:lvl2pPr marL="304800" indent="0"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</p:txBody>
      </p:sp>
      <p:sp>
        <p:nvSpPr>
          <p:cNvPr id="27" name="Plassholder for tekst 25">
            <a:extLst>
              <a:ext uri="{FF2B5EF4-FFF2-40B4-BE49-F238E27FC236}">
                <a16:creationId xmlns:a16="http://schemas.microsoft.com/office/drawing/2014/main" id="{1CFE57D9-0F71-4D97-9C49-4F0EEE5E8DB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970263" y="4099487"/>
            <a:ext cx="1946275" cy="1963175"/>
          </a:xfrm>
        </p:spPr>
        <p:txBody>
          <a:bodyPr/>
          <a:lstStyle>
            <a:lvl1pPr marL="0" indent="0">
              <a:buNone/>
              <a:defRPr/>
            </a:lvl1pPr>
            <a:lvl2pPr marL="304800" indent="0"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</p:txBody>
      </p:sp>
      <p:sp>
        <p:nvSpPr>
          <p:cNvPr id="28" name="Plassholder for tekst 25">
            <a:extLst>
              <a:ext uri="{FF2B5EF4-FFF2-40B4-BE49-F238E27FC236}">
                <a16:creationId xmlns:a16="http://schemas.microsoft.com/office/drawing/2014/main" id="{CEC8F951-6502-4237-9074-25F2C25EBA6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43601" y="4099487"/>
            <a:ext cx="1946275" cy="1963175"/>
          </a:xfrm>
        </p:spPr>
        <p:txBody>
          <a:bodyPr/>
          <a:lstStyle>
            <a:lvl1pPr marL="0" indent="0">
              <a:buNone/>
              <a:defRPr/>
            </a:lvl1pPr>
            <a:lvl2pPr marL="304800" indent="0"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</p:txBody>
      </p:sp>
      <p:sp>
        <p:nvSpPr>
          <p:cNvPr id="29" name="Plassholder for tekst 25">
            <a:extLst>
              <a:ext uri="{FF2B5EF4-FFF2-40B4-BE49-F238E27FC236}">
                <a16:creationId xmlns:a16="http://schemas.microsoft.com/office/drawing/2014/main" id="{8045DC42-5803-46CB-B7A0-A131E098534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316939" y="4099487"/>
            <a:ext cx="1946275" cy="1963175"/>
          </a:xfrm>
        </p:spPr>
        <p:txBody>
          <a:bodyPr/>
          <a:lstStyle>
            <a:lvl1pPr marL="0" indent="0">
              <a:buNone/>
              <a:defRPr/>
            </a:lvl1pPr>
            <a:lvl2pPr marL="304800" indent="0"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</p:txBody>
      </p:sp>
      <p:sp>
        <p:nvSpPr>
          <p:cNvPr id="30" name="Plassholder for tekst 25">
            <a:extLst>
              <a:ext uri="{FF2B5EF4-FFF2-40B4-BE49-F238E27FC236}">
                <a16:creationId xmlns:a16="http://schemas.microsoft.com/office/drawing/2014/main" id="{154DCB59-20D9-44F4-BD70-3558B1E4C18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490277" y="4099487"/>
            <a:ext cx="1946275" cy="1963175"/>
          </a:xfrm>
        </p:spPr>
        <p:txBody>
          <a:bodyPr/>
          <a:lstStyle>
            <a:lvl1pPr marL="0" indent="0">
              <a:buNone/>
              <a:defRPr/>
            </a:lvl1pPr>
            <a:lvl2pPr marL="304800" indent="0"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</p:txBody>
      </p:sp>
    </p:spTree>
    <p:extLst>
      <p:ext uri="{BB962C8B-B14F-4D97-AF65-F5344CB8AC3E}">
        <p14:creationId xmlns:p14="http://schemas.microsoft.com/office/powerpoint/2010/main" val="14585048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00075" y="900113"/>
            <a:ext cx="10966371" cy="5400675"/>
          </a:xfrm>
          <a:solidFill>
            <a:schemeClr val="accent1"/>
          </a:solidFill>
        </p:spPr>
        <p:txBody>
          <a:bodyPr lIns="540000" tIns="540000" rIns="5040000" bIns="2448000" anchor="t"/>
          <a:lstStyle>
            <a:lvl1pPr algn="l">
              <a:lnSpc>
                <a:spcPct val="9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080135" y="5550694"/>
            <a:ext cx="840105" cy="270033"/>
          </a:xfrm>
        </p:spPr>
        <p:txBody>
          <a:bodyPr/>
          <a:lstStyle>
            <a:lvl1pPr algn="l">
              <a:defRPr sz="1333" b="0">
                <a:solidFill>
                  <a:schemeClr val="bg1"/>
                </a:solidFill>
              </a:defRPr>
            </a:lvl1pPr>
          </a:lstStyle>
          <a:p>
            <a:fld id="{983651F3-9B16-40C6-B209-3688FC9C95F6}" type="datetimeFigureOut">
              <a:rPr lang="nb-NO" smtClean="0"/>
              <a:pPr/>
              <a:t>08.03.2023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2100263" y="5550694"/>
            <a:ext cx="4200525" cy="270033"/>
          </a:xfrm>
        </p:spPr>
        <p:txBody>
          <a:bodyPr>
            <a:noAutofit/>
          </a:bodyPr>
          <a:lstStyle>
            <a:lvl1pPr algn="l">
              <a:defRPr sz="1333" b="0">
                <a:solidFill>
                  <a:schemeClr val="bg1"/>
                </a:solidFill>
              </a:defRPr>
            </a:lvl1pPr>
          </a:lstStyle>
          <a:p>
            <a:r>
              <a:rPr lang="nb-NO"/>
              <a:t>Navn </a:t>
            </a:r>
            <a:r>
              <a:rPr lang="nb-NO" err="1"/>
              <a:t>Navnesen</a:t>
            </a:r>
            <a:r>
              <a:rPr lang="nb-NO"/>
              <a:t> og sted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8363" y="379632"/>
            <a:ext cx="1595120" cy="325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252876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med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bilde 6"/>
          <p:cNvSpPr>
            <a:spLocks noGrp="1"/>
          </p:cNvSpPr>
          <p:nvPr>
            <p:ph type="pic" sz="quarter" idx="10"/>
          </p:nvPr>
        </p:nvSpPr>
        <p:spPr>
          <a:xfrm>
            <a:off x="600075" y="900114"/>
            <a:ext cx="10966371" cy="5400675"/>
          </a:xfrm>
          <a:prstGeom prst="rect">
            <a:avLst/>
          </a:prstGeom>
          <a:solidFill>
            <a:srgbClr val="AAA09B"/>
          </a:solidFill>
        </p:spPr>
        <p:txBody>
          <a:bodyPr lIns="0" tIns="1980000" rIns="0" bIns="0" anchor="t" anchorCtr="1"/>
          <a:lstStyle>
            <a:lvl1pPr marL="0" indent="0">
              <a:buNone/>
              <a:defRPr sz="1500">
                <a:solidFill>
                  <a:schemeClr val="lt1"/>
                </a:solidFill>
              </a:defRPr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1050131" y="1350169"/>
            <a:ext cx="6150768" cy="692498"/>
          </a:xfrm>
          <a:noFill/>
        </p:spPr>
        <p:txBody>
          <a:bodyPr lIns="0" tIns="0" rIns="0" bIns="0" anchor="t">
            <a:spAutoFit/>
          </a:bodyPr>
          <a:lstStyle>
            <a:lvl1pPr algn="l">
              <a:lnSpc>
                <a:spcPct val="9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nb-NO"/>
              <a:t>Legg til tittel</a:t>
            </a:r>
          </a:p>
        </p:txBody>
      </p:sp>
      <p:pic>
        <p:nvPicPr>
          <p:cNvPr id="6" name="Bild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8363" y="379632"/>
            <a:ext cx="1595120" cy="325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03556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72085" y="900113"/>
            <a:ext cx="10849356" cy="5400675"/>
          </a:xfrm>
          <a:solidFill>
            <a:srgbClr val="AAA09B"/>
          </a:solidFill>
        </p:spPr>
        <p:txBody>
          <a:bodyPr lIns="540000" tIns="540000" rIns="5040000" bIns="2448000" anchor="t">
            <a:normAutofit/>
          </a:bodyPr>
          <a:lstStyle>
            <a:lvl1pPr>
              <a:lnSpc>
                <a:spcPct val="90000"/>
              </a:lnSpc>
              <a:defRPr sz="4167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dato 7"/>
          <p:cNvSpPr>
            <a:spLocks noGrp="1"/>
          </p:cNvSpPr>
          <p:nvPr>
            <p:ph type="dt" sz="half" idx="10"/>
          </p:nvPr>
        </p:nvSpPr>
        <p:spPr>
          <a:xfrm>
            <a:off x="1080135" y="5550694"/>
            <a:ext cx="840105" cy="270033"/>
          </a:xfrm>
        </p:spPr>
        <p:txBody>
          <a:bodyPr/>
          <a:lstStyle>
            <a:lvl1pPr>
              <a:defRPr sz="1333">
                <a:solidFill>
                  <a:schemeClr val="bg1"/>
                </a:solidFill>
              </a:defRPr>
            </a:lvl1pPr>
          </a:lstStyle>
          <a:p>
            <a:fld id="{983651F3-9B16-40C6-B209-3688FC9C95F6}" type="datetimeFigureOut">
              <a:rPr lang="nb-NO" smtClean="0"/>
              <a:pPr/>
              <a:t>08.03.2023</a:t>
            </a:fld>
            <a:endParaRPr lang="nb-NO"/>
          </a:p>
        </p:txBody>
      </p:sp>
      <p:sp>
        <p:nvSpPr>
          <p:cNvPr id="9" name="Plassholder for bunntekst 8"/>
          <p:cNvSpPr>
            <a:spLocks noGrp="1"/>
          </p:cNvSpPr>
          <p:nvPr>
            <p:ph type="ftr" sz="quarter" idx="11"/>
          </p:nvPr>
        </p:nvSpPr>
        <p:spPr>
          <a:xfrm>
            <a:off x="2100263" y="5550694"/>
            <a:ext cx="4200525" cy="270033"/>
          </a:xfrm>
        </p:spPr>
        <p:txBody>
          <a:bodyPr>
            <a:normAutofit/>
          </a:bodyPr>
          <a:lstStyle>
            <a:lvl1pPr>
              <a:defRPr sz="1333">
                <a:solidFill>
                  <a:schemeClr val="bg1"/>
                </a:solidFill>
              </a:defRPr>
            </a:lvl1pPr>
          </a:lstStyle>
          <a:p>
            <a:r>
              <a:rPr lang="nb-NO"/>
              <a:t>Navn </a:t>
            </a:r>
            <a:r>
              <a:rPr lang="nb-NO" err="1"/>
              <a:t>Navnesen</a:t>
            </a:r>
            <a:r>
              <a:rPr lang="nb-NO"/>
              <a:t> og sted</a:t>
            </a:r>
          </a:p>
        </p:txBody>
      </p:sp>
      <p:sp>
        <p:nvSpPr>
          <p:cNvPr id="10" name="Plassholder for lysbildenummer 9"/>
          <p:cNvSpPr>
            <a:spLocks noGrp="1"/>
          </p:cNvSpPr>
          <p:nvPr>
            <p:ph type="sldNum" sz="quarter" idx="12"/>
          </p:nvPr>
        </p:nvSpPr>
        <p:spPr>
          <a:xfrm>
            <a:off x="11233405" y="6401050"/>
            <a:ext cx="288036" cy="184666"/>
          </a:xfrm>
        </p:spPr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8363" y="379632"/>
            <a:ext cx="1595120" cy="325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475598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600075" y="1950245"/>
            <a:ext cx="8701088" cy="4350544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7" name="Tit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0247406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/>
          <p:cNvSpPr>
            <a:spLocks noGrp="1"/>
          </p:cNvSpPr>
          <p:nvPr>
            <p:ph type="pic" sz="quarter" idx="10"/>
          </p:nvPr>
        </p:nvSpPr>
        <p:spPr>
          <a:xfrm>
            <a:off x="600076" y="900114"/>
            <a:ext cx="10966371" cy="5400675"/>
          </a:xfrm>
          <a:prstGeom prst="rect">
            <a:avLst/>
          </a:prstGeom>
          <a:solidFill>
            <a:schemeClr val="lt2"/>
          </a:solidFill>
        </p:spPr>
        <p:txBody>
          <a:bodyPr lIns="0" tIns="1440000" rIns="0" bIns="0" anchor="t" anchorCtr="1"/>
          <a:lstStyle>
            <a:lvl1pPr marL="0" indent="0">
              <a:buNone/>
              <a:defRPr sz="1500"/>
            </a:lvl1pPr>
          </a:lstStyle>
          <a:p>
            <a:r>
              <a:rPr lang="nb-NO"/>
              <a:t>Klikk ikonet for å legge til et bilde</a:t>
            </a:r>
          </a:p>
        </p:txBody>
      </p:sp>
      <p:pic>
        <p:nvPicPr>
          <p:cNvPr id="5" name="Bild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8363" y="379632"/>
            <a:ext cx="1595120" cy="325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24088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tekst &amp; innhold /m undertitte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0075" y="1800225"/>
            <a:ext cx="5250657" cy="600075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380985" indent="0">
              <a:buNone/>
              <a:defRPr sz="1667" b="1"/>
            </a:lvl2pPr>
            <a:lvl3pPr marL="761970" indent="0">
              <a:buNone/>
              <a:defRPr sz="1500" b="1"/>
            </a:lvl3pPr>
            <a:lvl4pPr marL="1142954" indent="0">
              <a:buNone/>
              <a:defRPr sz="1333" b="1"/>
            </a:lvl4pPr>
            <a:lvl5pPr marL="1523939" indent="0">
              <a:buNone/>
              <a:defRPr sz="1333" b="1"/>
            </a:lvl5pPr>
            <a:lvl6pPr marL="1904924" indent="0">
              <a:buNone/>
              <a:defRPr sz="1333" b="1"/>
            </a:lvl6pPr>
            <a:lvl7pPr marL="2285909" indent="0">
              <a:buNone/>
              <a:defRPr sz="1333" b="1"/>
            </a:lvl7pPr>
            <a:lvl8pPr marL="2666893" indent="0">
              <a:buNone/>
              <a:defRPr sz="1333" b="1"/>
            </a:lvl8pPr>
            <a:lvl9pPr marL="3047878" indent="0">
              <a:buNone/>
              <a:defRPr sz="1333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00075" y="2550320"/>
            <a:ext cx="5250657" cy="3750469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 hasCustomPrompt="1"/>
          </p:nvPr>
        </p:nvSpPr>
        <p:spPr>
          <a:xfrm>
            <a:off x="6300787" y="900113"/>
            <a:ext cx="5250657" cy="54006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/>
              <a:t>Sett inn innhold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0076" y="900113"/>
            <a:ext cx="5250657" cy="72009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91356151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&amp;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00075" y="1800225"/>
            <a:ext cx="5250657" cy="4500563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 hasCustomPrompt="1"/>
          </p:nvPr>
        </p:nvSpPr>
        <p:spPr>
          <a:xfrm>
            <a:off x="6300787" y="900113"/>
            <a:ext cx="5250657" cy="54006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/>
              <a:t>Sett inn innhold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0075" y="900113"/>
            <a:ext cx="5250657" cy="72009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78260207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, tekst og teks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0075" y="1800225"/>
            <a:ext cx="5250657" cy="600075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380985" indent="0">
              <a:buNone/>
              <a:defRPr sz="1667" b="1"/>
            </a:lvl2pPr>
            <a:lvl3pPr marL="761970" indent="0">
              <a:buNone/>
              <a:defRPr sz="1500" b="1"/>
            </a:lvl3pPr>
            <a:lvl4pPr marL="1142954" indent="0">
              <a:buNone/>
              <a:defRPr sz="1333" b="1"/>
            </a:lvl4pPr>
            <a:lvl5pPr marL="1523939" indent="0">
              <a:buNone/>
              <a:defRPr sz="1333" b="1"/>
            </a:lvl5pPr>
            <a:lvl6pPr marL="1904924" indent="0">
              <a:buNone/>
              <a:defRPr sz="1333" b="1"/>
            </a:lvl6pPr>
            <a:lvl7pPr marL="2285909" indent="0">
              <a:buNone/>
              <a:defRPr sz="1333" b="1"/>
            </a:lvl7pPr>
            <a:lvl8pPr marL="2666893" indent="0">
              <a:buNone/>
              <a:defRPr sz="1333" b="1"/>
            </a:lvl8pPr>
            <a:lvl9pPr marL="3047878" indent="0">
              <a:buNone/>
              <a:defRPr sz="1333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00075" y="2550320"/>
            <a:ext cx="5250657" cy="3750469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0075" y="900113"/>
            <a:ext cx="5250657" cy="72009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415670081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/>
          <p:cNvSpPr>
            <a:spLocks noGrp="1"/>
          </p:cNvSpPr>
          <p:nvPr>
            <p:ph type="pic" sz="quarter" idx="10"/>
          </p:nvPr>
        </p:nvSpPr>
        <p:spPr>
          <a:xfrm>
            <a:off x="600075" y="900114"/>
            <a:ext cx="10966371" cy="5400675"/>
          </a:xfrm>
          <a:prstGeom prst="rect">
            <a:avLst/>
          </a:prstGeom>
          <a:solidFill>
            <a:schemeClr val="lt2"/>
          </a:solidFill>
        </p:spPr>
        <p:txBody>
          <a:bodyPr lIns="0" tIns="1440000" rIns="0" bIns="0" anchor="t" anchorCtr="1"/>
          <a:lstStyle>
            <a:lvl1pPr marL="0" indent="0">
              <a:buNone/>
              <a:defRPr sz="1500"/>
            </a:lvl1pPr>
          </a:lstStyle>
          <a:p>
            <a:r>
              <a:rPr lang="nb-NO"/>
              <a:t>Klikk ikonet for å legge til et bilde</a:t>
            </a:r>
          </a:p>
        </p:txBody>
      </p:sp>
      <p:pic>
        <p:nvPicPr>
          <p:cNvPr id="5" name="Bild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8363" y="379632"/>
            <a:ext cx="1595120" cy="325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975811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kon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ekst 1"/>
          <p:cNvSpPr>
            <a:spLocks noGrp="1"/>
          </p:cNvSpPr>
          <p:nvPr>
            <p:ph type="body" sz="quarter" idx="12" hasCustomPrompt="1"/>
          </p:nvPr>
        </p:nvSpPr>
        <p:spPr>
          <a:xfrm>
            <a:off x="600075" y="900114"/>
            <a:ext cx="10966371" cy="5400675"/>
          </a:xfrm>
          <a:prstGeom prst="rect">
            <a:avLst/>
          </a:prstGeom>
          <a:solidFill>
            <a:srgbClr val="DBD6D4"/>
          </a:solidFill>
        </p:spPr>
        <p:txBody>
          <a:bodyPr lIns="0" tIns="1440000" rIns="0" bIns="0" anchor="ctr"/>
          <a:lstStyle>
            <a:lvl1pPr marL="0" indent="0" algn="ctr">
              <a:buNone/>
              <a:defRPr sz="100" baseline="0"/>
            </a:lvl1pPr>
          </a:lstStyle>
          <a:p>
            <a:pPr lvl="0"/>
            <a:r>
              <a:rPr lang="nb-NO" sz="100"/>
              <a:t> </a:t>
            </a:r>
            <a:endParaRPr lang="nb-NO"/>
          </a:p>
        </p:txBody>
      </p:sp>
      <p:sp>
        <p:nvSpPr>
          <p:cNvPr id="4" name="Plassholder for bilde 6"/>
          <p:cNvSpPr>
            <a:spLocks noGrp="1"/>
          </p:cNvSpPr>
          <p:nvPr>
            <p:ph type="pic" sz="quarter" idx="11" hasCustomPrompt="1"/>
          </p:nvPr>
        </p:nvSpPr>
        <p:spPr>
          <a:xfrm>
            <a:off x="4163020" y="1800226"/>
            <a:ext cx="3840480" cy="3600450"/>
          </a:xfrm>
          <a:prstGeom prst="rect">
            <a:avLst/>
          </a:prstGeom>
          <a:noFill/>
        </p:spPr>
        <p:txBody>
          <a:bodyPr lIns="0" tIns="1080000" rIns="0" bIns="0" anchor="t" anchorCtr="1"/>
          <a:lstStyle>
            <a:lvl1pPr marL="0" indent="0">
              <a:buNone/>
              <a:defRPr sz="1500"/>
            </a:lvl1pPr>
          </a:lstStyle>
          <a:p>
            <a:r>
              <a:rPr lang="nb-NO"/>
              <a:t>Ikon</a:t>
            </a:r>
          </a:p>
        </p:txBody>
      </p:sp>
      <p:pic>
        <p:nvPicPr>
          <p:cNvPr id="6" name="Bild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8363" y="379632"/>
            <a:ext cx="1595120" cy="325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14066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x bilder /m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/>
          <p:cNvSpPr>
            <a:spLocks noGrp="1"/>
          </p:cNvSpPr>
          <p:nvPr>
            <p:ph type="pic" sz="quarter" idx="10"/>
          </p:nvPr>
        </p:nvSpPr>
        <p:spPr>
          <a:xfrm>
            <a:off x="600075" y="900113"/>
            <a:ext cx="3600450" cy="1800225"/>
          </a:xfrm>
          <a:prstGeom prst="rect">
            <a:avLst/>
          </a:prstGeom>
          <a:solidFill>
            <a:schemeClr val="lt2"/>
          </a:solidFill>
        </p:spPr>
        <p:txBody>
          <a:bodyPr lIns="0" tIns="360000" rIns="0" bIns="0" anchor="t" anchorCtr="1"/>
          <a:lstStyle>
            <a:lvl1pPr marL="0" indent="0">
              <a:buNone/>
              <a:defRPr sz="1500"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9" name="Plassholder for bilde 6"/>
          <p:cNvSpPr>
            <a:spLocks noGrp="1"/>
          </p:cNvSpPr>
          <p:nvPr>
            <p:ph type="pic" sz="quarter" idx="11"/>
          </p:nvPr>
        </p:nvSpPr>
        <p:spPr>
          <a:xfrm>
            <a:off x="4365547" y="900114"/>
            <a:ext cx="3450431" cy="2700338"/>
          </a:xfrm>
          <a:prstGeom prst="rect">
            <a:avLst/>
          </a:prstGeom>
          <a:solidFill>
            <a:schemeClr val="lt2"/>
          </a:solidFill>
        </p:spPr>
        <p:txBody>
          <a:bodyPr lIns="0" tIns="360000" rIns="0" bIns="0" anchor="t" anchorCtr="1"/>
          <a:lstStyle>
            <a:lvl1pPr marL="0" indent="0">
              <a:buNone/>
              <a:defRPr sz="1500"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10" name="Plassholder for bilde 6"/>
          <p:cNvSpPr>
            <a:spLocks noGrp="1"/>
          </p:cNvSpPr>
          <p:nvPr>
            <p:ph type="pic" sz="quarter" idx="12"/>
          </p:nvPr>
        </p:nvSpPr>
        <p:spPr>
          <a:xfrm>
            <a:off x="4365547" y="3750470"/>
            <a:ext cx="3450431" cy="2550319"/>
          </a:xfrm>
          <a:prstGeom prst="rect">
            <a:avLst/>
          </a:prstGeom>
          <a:solidFill>
            <a:schemeClr val="lt2"/>
          </a:solidFill>
        </p:spPr>
        <p:txBody>
          <a:bodyPr lIns="0" tIns="360000" rIns="0" bIns="0" anchor="t" anchorCtr="1"/>
          <a:lstStyle>
            <a:lvl1pPr marL="0" indent="0">
              <a:buNone/>
              <a:defRPr sz="1500"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13" name="Plassholder for innhold 12"/>
          <p:cNvSpPr>
            <a:spLocks noGrp="1"/>
          </p:cNvSpPr>
          <p:nvPr>
            <p:ph sz="quarter" idx="15"/>
          </p:nvPr>
        </p:nvSpPr>
        <p:spPr>
          <a:xfrm>
            <a:off x="600075" y="2850357"/>
            <a:ext cx="3600450" cy="345043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lIns="360000" tIns="360000" rIns="360000" bIns="360000">
            <a:normAutofit/>
          </a:bodyPr>
          <a:lstStyle>
            <a:lvl1pPr marL="0" indent="0">
              <a:lnSpc>
                <a:spcPts val="3000"/>
              </a:lnSpc>
              <a:spcBef>
                <a:spcPts val="0"/>
              </a:spcBef>
              <a:buNone/>
              <a:defRPr sz="2500" b="1">
                <a:solidFill>
                  <a:schemeClr val="lt1"/>
                </a:solidFill>
                <a:latin typeface="Cambria" panose="02040503050406030204" pitchFamily="18" charset="0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2" name="Plassholder for bilde 6"/>
          <p:cNvSpPr>
            <a:spLocks noGrp="1"/>
          </p:cNvSpPr>
          <p:nvPr>
            <p:ph type="pic" sz="quarter" idx="16"/>
          </p:nvPr>
        </p:nvSpPr>
        <p:spPr>
          <a:xfrm>
            <a:off x="7965996" y="900113"/>
            <a:ext cx="3600450" cy="5400674"/>
          </a:xfrm>
          <a:prstGeom prst="rect">
            <a:avLst/>
          </a:prstGeom>
          <a:solidFill>
            <a:schemeClr val="lt2"/>
          </a:solidFill>
        </p:spPr>
        <p:txBody>
          <a:bodyPr lIns="0" tIns="360000" rIns="0" bIns="0" anchor="t" anchorCtr="1"/>
          <a:lstStyle>
            <a:lvl1pPr marL="0" indent="0">
              <a:buNone/>
              <a:defRPr sz="1500"/>
            </a:lvl1pPr>
          </a:lstStyle>
          <a:p>
            <a:r>
              <a:rPr lang="nb-NO"/>
              <a:t>Klikk ikonet for å legge til et bilde</a:t>
            </a:r>
          </a:p>
        </p:txBody>
      </p:sp>
      <p:pic>
        <p:nvPicPr>
          <p:cNvPr id="8" name="Bild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8363" y="379632"/>
            <a:ext cx="1595120" cy="325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65587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0075" y="1800225"/>
            <a:ext cx="5250657" cy="4500563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300787" y="1800225"/>
            <a:ext cx="5250657" cy="4500563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08.03.2023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9" name="Tittel 8"/>
          <p:cNvSpPr>
            <a:spLocks noGrp="1"/>
          </p:cNvSpPr>
          <p:nvPr>
            <p:ph type="title"/>
          </p:nvPr>
        </p:nvSpPr>
        <p:spPr>
          <a:xfrm>
            <a:off x="600076" y="900113"/>
            <a:ext cx="10951369" cy="72009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84327541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0075" y="1800225"/>
            <a:ext cx="5250657" cy="600075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380985" indent="0">
              <a:buNone/>
              <a:defRPr sz="1667" b="1"/>
            </a:lvl2pPr>
            <a:lvl3pPr marL="761970" indent="0">
              <a:buNone/>
              <a:defRPr sz="1500" b="1"/>
            </a:lvl3pPr>
            <a:lvl4pPr marL="1142954" indent="0">
              <a:buNone/>
              <a:defRPr sz="1333" b="1"/>
            </a:lvl4pPr>
            <a:lvl5pPr marL="1523939" indent="0">
              <a:buNone/>
              <a:defRPr sz="1333" b="1"/>
            </a:lvl5pPr>
            <a:lvl6pPr marL="1904924" indent="0">
              <a:buNone/>
              <a:defRPr sz="1333" b="1"/>
            </a:lvl6pPr>
            <a:lvl7pPr marL="2285909" indent="0">
              <a:buNone/>
              <a:defRPr sz="1333" b="1"/>
            </a:lvl7pPr>
            <a:lvl8pPr marL="2666893" indent="0">
              <a:buNone/>
              <a:defRPr sz="1333" b="1"/>
            </a:lvl8pPr>
            <a:lvl9pPr marL="3047878" indent="0">
              <a:buNone/>
              <a:defRPr sz="1333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00075" y="2550320"/>
            <a:ext cx="5250657" cy="3750469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300787" y="1800225"/>
            <a:ext cx="5250657" cy="600075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380985" indent="0">
              <a:buNone/>
              <a:defRPr sz="1667" b="1"/>
            </a:lvl2pPr>
            <a:lvl3pPr marL="761970" indent="0">
              <a:buNone/>
              <a:defRPr sz="1500" b="1"/>
            </a:lvl3pPr>
            <a:lvl4pPr marL="1142954" indent="0">
              <a:buNone/>
              <a:defRPr sz="1333" b="1"/>
            </a:lvl4pPr>
            <a:lvl5pPr marL="1523939" indent="0">
              <a:buNone/>
              <a:defRPr sz="1333" b="1"/>
            </a:lvl5pPr>
            <a:lvl6pPr marL="1904924" indent="0">
              <a:buNone/>
              <a:defRPr sz="1333" b="1"/>
            </a:lvl6pPr>
            <a:lvl7pPr marL="2285909" indent="0">
              <a:buNone/>
              <a:defRPr sz="1333" b="1"/>
            </a:lvl7pPr>
            <a:lvl8pPr marL="2666893" indent="0">
              <a:buNone/>
              <a:defRPr sz="1333" b="1"/>
            </a:lvl8pPr>
            <a:lvl9pPr marL="3047878" indent="0">
              <a:buNone/>
              <a:defRPr sz="1333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6300787" y="2550320"/>
            <a:ext cx="5250657" cy="3750469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11" name="Tit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00459691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08.03.2023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1842085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08.03.2023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035078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kon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ekst 1"/>
          <p:cNvSpPr>
            <a:spLocks noGrp="1"/>
          </p:cNvSpPr>
          <p:nvPr>
            <p:ph type="body" sz="quarter" idx="12" hasCustomPrompt="1"/>
          </p:nvPr>
        </p:nvSpPr>
        <p:spPr>
          <a:xfrm>
            <a:off x="600076" y="900114"/>
            <a:ext cx="10966371" cy="5400675"/>
          </a:xfrm>
          <a:prstGeom prst="rect">
            <a:avLst/>
          </a:prstGeom>
          <a:solidFill>
            <a:srgbClr val="DBD6D4"/>
          </a:solidFill>
        </p:spPr>
        <p:txBody>
          <a:bodyPr lIns="0" tIns="1440000" rIns="0" bIns="0" anchor="ctr"/>
          <a:lstStyle>
            <a:lvl1pPr marL="0" indent="0" algn="ctr">
              <a:buNone/>
              <a:defRPr sz="100" baseline="0"/>
            </a:lvl1pPr>
          </a:lstStyle>
          <a:p>
            <a:pPr lvl="0"/>
            <a:r>
              <a:rPr lang="nb-NO" sz="100"/>
              <a:t> </a:t>
            </a:r>
            <a:endParaRPr lang="nb-NO"/>
          </a:p>
        </p:txBody>
      </p:sp>
      <p:sp>
        <p:nvSpPr>
          <p:cNvPr id="4" name="Plassholder for bilde 6"/>
          <p:cNvSpPr>
            <a:spLocks noGrp="1"/>
          </p:cNvSpPr>
          <p:nvPr>
            <p:ph type="pic" sz="quarter" idx="11" hasCustomPrompt="1"/>
          </p:nvPr>
        </p:nvSpPr>
        <p:spPr>
          <a:xfrm>
            <a:off x="4163020" y="1800226"/>
            <a:ext cx="3840480" cy="3600450"/>
          </a:xfrm>
          <a:prstGeom prst="rect">
            <a:avLst/>
          </a:prstGeom>
          <a:noFill/>
        </p:spPr>
        <p:txBody>
          <a:bodyPr lIns="0" tIns="1080000" rIns="0" bIns="0" anchor="t" anchorCtr="1"/>
          <a:lstStyle>
            <a:lvl1pPr marL="0" indent="0">
              <a:buNone/>
              <a:defRPr sz="1500"/>
            </a:lvl1pPr>
          </a:lstStyle>
          <a:p>
            <a:r>
              <a:rPr lang="nb-NO"/>
              <a:t>Ikon</a:t>
            </a:r>
          </a:p>
        </p:txBody>
      </p:sp>
      <p:pic>
        <p:nvPicPr>
          <p:cNvPr id="6" name="Bild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8363" y="379632"/>
            <a:ext cx="1595120" cy="325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097118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600075" y="1950245"/>
            <a:ext cx="8701088" cy="4350544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7" name="Tit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27356382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CC0ECB62-1AEE-44CF-B49B-E42FC5854D2B}"/>
              </a:ext>
            </a:extLst>
          </p:cNvPr>
          <p:cNvSpPr>
            <a:spLocks/>
          </p:cNvSpPr>
          <p:nvPr userDrawn="1"/>
        </p:nvSpPr>
        <p:spPr>
          <a:xfrm>
            <a:off x="0" y="986653"/>
            <a:ext cx="12192000" cy="587134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E0AB172-1CA3-41A2-A981-1FAE41E0AE2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28901" y="2472029"/>
            <a:ext cx="7326312" cy="1169551"/>
          </a:xfrm>
        </p:spPr>
        <p:txBody>
          <a:bodyPr wrap="square" lIns="0" tIns="0" rIns="0" bIns="0" anchor="b">
            <a:noAutofit/>
          </a:bodyPr>
          <a:lstStyle>
            <a:lvl1pPr algn="ctr">
              <a:defRPr sz="380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32A96FBF-2AD2-49E7-82B8-77F232A2D3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28901" y="3981884"/>
            <a:ext cx="7326312" cy="615553"/>
          </a:xfrm>
        </p:spPr>
        <p:txBody>
          <a:bodyPr wrap="square" lIns="0" tIns="0" rIns="0" bIns="0">
            <a:noAutofit/>
          </a:bodyPr>
          <a:lstStyle>
            <a:lvl1pPr marL="0" indent="0" algn="ctr">
              <a:buNone/>
              <a:defRPr sz="2000">
                <a:solidFill>
                  <a:schemeClr val="l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435EFE49-716E-4BC2-9EFC-F6C4F62E78E1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0297681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side med tekst og stort 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bilde 12">
            <a:extLst>
              <a:ext uri="{FF2B5EF4-FFF2-40B4-BE49-F238E27FC236}">
                <a16:creationId xmlns:a16="http://schemas.microsoft.com/office/drawing/2014/main" id="{9E8A3748-D9BC-4588-9124-CBF265D47AB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986653"/>
            <a:ext cx="12192000" cy="5886736"/>
          </a:xfrm>
          <a:custGeom>
            <a:avLst/>
            <a:gdLst>
              <a:gd name="connsiteX0" fmla="*/ 0 w 12192000"/>
              <a:gd name="connsiteY0" fmla="*/ 0 h 5886736"/>
              <a:gd name="connsiteX1" fmla="*/ 406400 w 12192000"/>
              <a:gd name="connsiteY1" fmla="*/ 0 h 5886736"/>
              <a:gd name="connsiteX2" fmla="*/ 406400 w 12192000"/>
              <a:gd name="connsiteY2" fmla="*/ 3953669 h 5886736"/>
              <a:gd name="connsiteX3" fmla="*/ 4470400 w 12192000"/>
              <a:gd name="connsiteY3" fmla="*/ 3953669 h 5886736"/>
              <a:gd name="connsiteX4" fmla="*/ 4470400 w 12192000"/>
              <a:gd name="connsiteY4" fmla="*/ 0 h 5886736"/>
              <a:gd name="connsiteX5" fmla="*/ 12192000 w 12192000"/>
              <a:gd name="connsiteY5" fmla="*/ 0 h 5886736"/>
              <a:gd name="connsiteX6" fmla="*/ 12192000 w 12192000"/>
              <a:gd name="connsiteY6" fmla="*/ 5886736 h 5886736"/>
              <a:gd name="connsiteX7" fmla="*/ 0 w 12192000"/>
              <a:gd name="connsiteY7" fmla="*/ 5886736 h 5886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5886736">
                <a:moveTo>
                  <a:pt x="0" y="0"/>
                </a:moveTo>
                <a:lnTo>
                  <a:pt x="406400" y="0"/>
                </a:lnTo>
                <a:lnTo>
                  <a:pt x="406400" y="3953669"/>
                </a:lnTo>
                <a:lnTo>
                  <a:pt x="4470400" y="3953669"/>
                </a:lnTo>
                <a:lnTo>
                  <a:pt x="4470400" y="0"/>
                </a:lnTo>
                <a:lnTo>
                  <a:pt x="12192000" y="0"/>
                </a:lnTo>
                <a:lnTo>
                  <a:pt x="12192000" y="5886736"/>
                </a:lnTo>
                <a:lnTo>
                  <a:pt x="0" y="5886736"/>
                </a:lnTo>
                <a:close/>
              </a:path>
            </a:pathLst>
          </a:custGeom>
          <a:solidFill>
            <a:schemeClr val="lt2"/>
          </a:solidFill>
        </p:spPr>
        <p:txBody>
          <a:bodyPr wrap="square">
            <a:noAutofit/>
          </a:bodyPr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0D477F9B-9F58-4B5C-835B-EEB557C86025}"/>
              </a:ext>
            </a:extLst>
          </p:cNvPr>
          <p:cNvSpPr>
            <a:spLocks/>
          </p:cNvSpPr>
          <p:nvPr userDrawn="1"/>
        </p:nvSpPr>
        <p:spPr>
          <a:xfrm>
            <a:off x="406400" y="0"/>
            <a:ext cx="4064000" cy="494032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32A96FBF-2AD2-49E7-82B8-77F232A2D3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98513" y="3995788"/>
            <a:ext cx="3265487" cy="615553"/>
          </a:xfrm>
        </p:spPr>
        <p:txBody>
          <a:bodyPr wrap="square"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l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A1894DC-4EB3-48E1-97EA-DD16B390DB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EEA361D0-87B0-4C01-8535-BCAFFBF87541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16C0784-44CF-49A2-A674-CF47D7D06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118536"/>
            <a:ext cx="10220325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5231186-E6D1-4DBF-BA24-3A5829ED94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0325" y="-118536"/>
            <a:ext cx="374650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768FFDB9-DEC0-4ED2-AA73-EFDCD40205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6925" y="369794"/>
            <a:ext cx="3267075" cy="2991925"/>
          </a:xfrm>
        </p:spPr>
        <p:txBody>
          <a:bodyPr wrap="square" lIns="0" tIns="0" rIns="0" bIns="0" anchor="b">
            <a:noAutofit/>
          </a:bodyPr>
          <a:lstStyle>
            <a:lvl1pPr algn="l">
              <a:defRPr sz="38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tekst 2">
            <a:extLst>
              <a:ext uri="{FF2B5EF4-FFF2-40B4-BE49-F238E27FC236}">
                <a16:creationId xmlns:a16="http://schemas.microsoft.com/office/drawing/2014/main" id="{9BBF87C4-A7B5-134E-8831-50A2AE67C78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 rot="16200000">
            <a:off x="10166464" y="4851828"/>
            <a:ext cx="107722" cy="3649664"/>
          </a:xfrm>
        </p:spPr>
        <p:txBody>
          <a:bodyPr vert="vert">
            <a:spAutoFit/>
          </a:bodyPr>
          <a:lstStyle>
            <a:lvl1pPr marL="0" indent="0" algn="r">
              <a:buNone/>
              <a:defRPr lang="nb-NO" sz="700" b="0" i="0" u="none" strike="noStrike" smtClean="0">
                <a:effectLst/>
              </a:defRPr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av fotograf</a:t>
            </a:r>
          </a:p>
        </p:txBody>
      </p:sp>
    </p:spTree>
    <p:extLst>
      <p:ext uri="{BB962C8B-B14F-4D97-AF65-F5344CB8AC3E}">
        <p14:creationId xmlns:p14="http://schemas.microsoft.com/office/powerpoint/2010/main" val="276646434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74D9D44-98FA-4766-8341-8FC3D86332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00747B07-4572-40CF-B463-9CF5EBF58E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926" y="2413000"/>
            <a:ext cx="8763000" cy="3649664"/>
          </a:xfr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D869DCCC-FA35-4BC3-B401-3AF1C6FBDB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A852B1F4-6138-4225-A9A8-727786CA4CFA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C8BCE1B-16B5-4C51-BA48-E53851E99C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A2456F09-A299-4ECB-99F6-48D6F352DC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612405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6729766-028C-47E0-B4C0-A2A5CFB050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9AFA5423-2D6F-4DEB-BD8E-434061892E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7C01F237-A6AB-4B8D-8F87-3AF6EC629C80}" type="datetime1">
              <a:rPr lang="nb-NO" smtClean="0"/>
              <a:t>08.03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B91FCA3-AAB1-4942-A403-EB01037198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0F52D164-B8A5-4C80-8608-6FCB80F2E4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>
            <a:extLst>
              <a:ext uri="{FF2B5EF4-FFF2-40B4-BE49-F238E27FC236}">
                <a16:creationId xmlns:a16="http://schemas.microsoft.com/office/drawing/2014/main" id="{D4C05C0E-D386-4C2B-8D54-20A35582EA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925" y="2413000"/>
            <a:ext cx="5097462" cy="3649664"/>
          </a:xfr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5E1BB4FF-EB57-43DA-9720-67307DA703D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91264" y="2413000"/>
            <a:ext cx="5097462" cy="3649664"/>
          </a:xfr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34552778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med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6729766-028C-47E0-B4C0-A2A5CFB050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9AFA5423-2D6F-4DEB-BD8E-434061892E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DAE63A93-2561-4A89-A7E2-7BE8335815AC}" type="datetime1">
              <a:rPr lang="nb-NO" smtClean="0"/>
              <a:t>08.03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B91FCA3-AAB1-4942-A403-EB01037198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0F52D164-B8A5-4C80-8608-6FCB80F2E4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42886FD8-E3F1-4AF6-B1B3-56C5C0F27DF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00099" y="2413000"/>
            <a:ext cx="5097462" cy="3649664"/>
          </a:xfrm>
          <a:prstGeom prst="rect">
            <a:avLst/>
          </a:prstGeom>
          <a:solidFill>
            <a:schemeClr val="lt2"/>
          </a:solidFill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4" name="Plassholder for bilde 3">
            <a:extLst>
              <a:ext uri="{FF2B5EF4-FFF2-40B4-BE49-F238E27FC236}">
                <a16:creationId xmlns:a16="http://schemas.microsoft.com/office/drawing/2014/main" id="{19D6546F-BDA3-480D-81D5-6D1B8A13EFD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94438" y="2413000"/>
            <a:ext cx="5097462" cy="3649664"/>
          </a:xfrm>
          <a:prstGeom prst="rect">
            <a:avLst/>
          </a:prstGeom>
          <a:solidFill>
            <a:schemeClr val="lt2"/>
          </a:solidFill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8" name="Plassholder for tekst 2">
            <a:extLst>
              <a:ext uri="{FF2B5EF4-FFF2-40B4-BE49-F238E27FC236}">
                <a16:creationId xmlns:a16="http://schemas.microsoft.com/office/drawing/2014/main" id="{331544C7-6E4D-4FCE-B743-A772C08B1F9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456129" y="2413000"/>
            <a:ext cx="107722" cy="3649664"/>
          </a:xfrm>
        </p:spPr>
        <p:txBody>
          <a:bodyPr vert="vert">
            <a:spAutoFit/>
          </a:bodyPr>
          <a:lstStyle>
            <a:lvl1pPr marL="0" indent="0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</p:spTree>
    <p:extLst>
      <p:ext uri="{BB962C8B-B14F-4D97-AF65-F5344CB8AC3E}">
        <p14:creationId xmlns:p14="http://schemas.microsoft.com/office/powerpoint/2010/main" val="392586374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015AA92-CFF3-4A68-B2C4-B3E6548DB7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96925" y="2387600"/>
            <a:ext cx="5097462" cy="73866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08B1DF3D-C6BE-4D4E-957F-C6DEF92025D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91264" y="2387600"/>
            <a:ext cx="5097462" cy="738664"/>
          </a:xfrm>
        </p:spPr>
        <p:txBody>
          <a:bodyPr lIns="0" tIns="0" rIns="0" bIns="0" anchor="t">
            <a:no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0CD12513-0937-438B-92B2-80ABB131DF2B}" type="datetime1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767CD8C-E6E1-47F7-A9B5-467CDD16F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864037"/>
            <a:ext cx="8763000" cy="1169551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1" name="Plassholder for innhold 2">
            <a:extLst>
              <a:ext uri="{FF2B5EF4-FFF2-40B4-BE49-F238E27FC236}">
                <a16:creationId xmlns:a16="http://schemas.microsoft.com/office/drawing/2014/main" id="{D1A5C7BA-CCD2-40AB-95E9-773DE7FB6056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96925" y="3327400"/>
            <a:ext cx="5097462" cy="2735264"/>
          </a:xfr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A274A5EE-0306-47C8-95FA-9176D50FAB41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91264" y="3327400"/>
            <a:ext cx="5097462" cy="2735264"/>
          </a:xfr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51764321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2F26BDD0-8444-406F-A543-4E312E51B5A4}" type="datetime1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767CD8C-E6E1-47F7-A9B5-467CDD16F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864037"/>
            <a:ext cx="5097462" cy="1169551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3" name="Plassholder for bilde 3">
            <a:extLst>
              <a:ext uri="{FF2B5EF4-FFF2-40B4-BE49-F238E27FC236}">
                <a16:creationId xmlns:a16="http://schemas.microsoft.com/office/drawing/2014/main" id="{B5A1E56D-AE99-4789-B24D-61210A3F24F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97614" y="976312"/>
            <a:ext cx="5894385" cy="5086351"/>
          </a:xfrm>
          <a:prstGeom prst="rect">
            <a:avLst/>
          </a:prstGeom>
          <a:solidFill>
            <a:schemeClr val="lt2"/>
          </a:solidFill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2F76D602-75E9-486D-9F94-3D7511C622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925" y="2413000"/>
            <a:ext cx="5097462" cy="3649664"/>
          </a:xfr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2">
            <a:extLst>
              <a:ext uri="{FF2B5EF4-FFF2-40B4-BE49-F238E27FC236}">
                <a16:creationId xmlns:a16="http://schemas.microsoft.com/office/drawing/2014/main" id="{55A6CEE8-9BD3-4F79-BFFB-FCCC2C74836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24843" y="1412460"/>
            <a:ext cx="107722" cy="4543926"/>
          </a:xfrm>
        </p:spPr>
        <p:txBody>
          <a:bodyPr vert="vert">
            <a:spAutoFit/>
          </a:bodyPr>
          <a:lstStyle>
            <a:lvl1pPr marL="0" indent="0" algn="r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</p:spTree>
    <p:extLst>
      <p:ext uri="{BB962C8B-B14F-4D97-AF65-F5344CB8AC3E}">
        <p14:creationId xmlns:p14="http://schemas.microsoft.com/office/powerpoint/2010/main" val="406119893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F0D09085-7D4B-4E10-9C99-B8BD245DBFE6}" type="datetime1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767CD8C-E6E1-47F7-A9B5-467CDD16F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4" y="864037"/>
            <a:ext cx="6931025" cy="1169551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3" name="Plassholder for bilde 3">
            <a:extLst>
              <a:ext uri="{FF2B5EF4-FFF2-40B4-BE49-F238E27FC236}">
                <a16:creationId xmlns:a16="http://schemas.microsoft.com/office/drawing/2014/main" id="{B5A1E56D-AE99-4789-B24D-61210A3F24F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23239" y="976312"/>
            <a:ext cx="4068762" cy="5086351"/>
          </a:xfrm>
          <a:prstGeom prst="rect">
            <a:avLst/>
          </a:prstGeom>
          <a:solidFill>
            <a:schemeClr val="lt2"/>
          </a:solidFill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2F76D602-75E9-486D-9F94-3D7511C622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924" y="2413000"/>
            <a:ext cx="6931025" cy="3649664"/>
          </a:xfr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2">
            <a:extLst>
              <a:ext uri="{FF2B5EF4-FFF2-40B4-BE49-F238E27FC236}">
                <a16:creationId xmlns:a16="http://schemas.microsoft.com/office/drawing/2014/main" id="{9BE31FBC-3E87-4906-8AF2-8C42F3A72D5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24843" y="1412460"/>
            <a:ext cx="107722" cy="4543926"/>
          </a:xfrm>
        </p:spPr>
        <p:txBody>
          <a:bodyPr vert="vert">
            <a:spAutoFit/>
          </a:bodyPr>
          <a:lstStyle>
            <a:lvl1pPr marL="0" indent="0" algn="r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</p:spTree>
    <p:extLst>
      <p:ext uri="{BB962C8B-B14F-4D97-AF65-F5344CB8AC3E}">
        <p14:creationId xmlns:p14="http://schemas.microsoft.com/office/powerpoint/2010/main" val="270652842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bild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B128704-842D-438F-B761-751EFFCC5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50532F98-8284-484E-8BF4-A5270B91B9B5}" type="datetime1">
              <a:rPr lang="nb-NO" smtClean="0"/>
              <a:t>08.03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B76D4C92-BCB5-4B7C-8DEE-3F3B0CD43E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61FF4F2-B671-4C76-BA7E-8C8EE98958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FF8458C2-5565-427F-8AB4-11699EB93339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8767CD8C-E6E1-47F7-A9B5-467CDD16F0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976313"/>
            <a:ext cx="3267076" cy="1057275"/>
          </a:xfrm>
        </p:spPr>
        <p:txBody>
          <a:bodyPr lIns="0" tIns="0" rIns="0" bIns="0"/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Plassholder for bilde 3">
            <a:extLst>
              <a:ext uri="{FF2B5EF4-FFF2-40B4-BE49-F238E27FC236}">
                <a16:creationId xmlns:a16="http://schemas.microsoft.com/office/drawing/2014/main" id="{B5A1E56D-AE99-4789-B24D-61210A3F24F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59288" y="976312"/>
            <a:ext cx="7732712" cy="5086351"/>
          </a:xfrm>
          <a:prstGeom prst="rect">
            <a:avLst/>
          </a:prstGeom>
          <a:solidFill>
            <a:schemeClr val="lt2"/>
          </a:solidFill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2F76D602-75E9-486D-9F94-3D7511C622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6925" y="2413000"/>
            <a:ext cx="3267076" cy="3649664"/>
          </a:xfr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2">
            <a:extLst>
              <a:ext uri="{FF2B5EF4-FFF2-40B4-BE49-F238E27FC236}">
                <a16:creationId xmlns:a16="http://schemas.microsoft.com/office/drawing/2014/main" id="{0B37DE26-D1C3-4958-AAD0-4B083C57A7A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24843" y="1412460"/>
            <a:ext cx="107722" cy="4543926"/>
          </a:xfrm>
        </p:spPr>
        <p:txBody>
          <a:bodyPr vert="vert">
            <a:spAutoFit/>
          </a:bodyPr>
          <a:lstStyle>
            <a:lvl1pPr marL="0" indent="0" algn="r">
              <a:buNone/>
              <a:defRPr sz="700"/>
            </a:lvl1pPr>
            <a:lvl2pPr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nb-NO"/>
              <a:t>Foto: Sett inn kreditering på fotograf</a:t>
            </a:r>
          </a:p>
        </p:txBody>
      </p:sp>
    </p:spTree>
    <p:extLst>
      <p:ext uri="{BB962C8B-B14F-4D97-AF65-F5344CB8AC3E}">
        <p14:creationId xmlns:p14="http://schemas.microsoft.com/office/powerpoint/2010/main" val="34889226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1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5" Type="http://schemas.openxmlformats.org/officeDocument/2006/relationships/image" Target="../media/image5.emf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slideLayout" Target="../slideLayouts/slideLayout38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oleObject" Target="../embeddings/oleObject2.bin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vmlDrawing" Target="../drawings/vmlDrawing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26" Type="http://schemas.openxmlformats.org/officeDocument/2006/relationships/slideLayout" Target="../slideLayouts/slideLayout64.xml"/><Relationship Id="rId39" Type="http://schemas.openxmlformats.org/officeDocument/2006/relationships/vmlDrawing" Target="../drawings/vmlDrawing3.vml"/><Relationship Id="rId3" Type="http://schemas.openxmlformats.org/officeDocument/2006/relationships/slideLayout" Target="../slideLayouts/slideLayout41.xml"/><Relationship Id="rId21" Type="http://schemas.openxmlformats.org/officeDocument/2006/relationships/slideLayout" Target="../slideLayouts/slideLayout59.xml"/><Relationship Id="rId34" Type="http://schemas.openxmlformats.org/officeDocument/2006/relationships/slideLayout" Target="../slideLayouts/slideLayout72.xml"/><Relationship Id="rId42" Type="http://schemas.openxmlformats.org/officeDocument/2006/relationships/image" Target="../media/image5.emf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5" Type="http://schemas.openxmlformats.org/officeDocument/2006/relationships/slideLayout" Target="../slideLayouts/slideLayout63.xml"/><Relationship Id="rId33" Type="http://schemas.openxmlformats.org/officeDocument/2006/relationships/slideLayout" Target="../slideLayouts/slideLayout71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8.xml"/><Relationship Id="rId29" Type="http://schemas.openxmlformats.org/officeDocument/2006/relationships/slideLayout" Target="../slideLayouts/slideLayout67.xml"/><Relationship Id="rId41" Type="http://schemas.openxmlformats.org/officeDocument/2006/relationships/oleObject" Target="../embeddings/oleObject3.bin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24" Type="http://schemas.openxmlformats.org/officeDocument/2006/relationships/slideLayout" Target="../slideLayouts/slideLayout62.xml"/><Relationship Id="rId32" Type="http://schemas.openxmlformats.org/officeDocument/2006/relationships/slideLayout" Target="../slideLayouts/slideLayout70.xml"/><Relationship Id="rId37" Type="http://schemas.openxmlformats.org/officeDocument/2006/relationships/slideLayout" Target="../slideLayouts/slideLayout75.xml"/><Relationship Id="rId40" Type="http://schemas.openxmlformats.org/officeDocument/2006/relationships/tags" Target="../tags/tag4.xml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slideLayout" Target="../slideLayouts/slideLayout61.xml"/><Relationship Id="rId28" Type="http://schemas.openxmlformats.org/officeDocument/2006/relationships/slideLayout" Target="../slideLayouts/slideLayout66.xml"/><Relationship Id="rId36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31" Type="http://schemas.openxmlformats.org/officeDocument/2006/relationships/slideLayout" Target="../slideLayouts/slideLayout69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slideLayout" Target="../slideLayouts/slideLayout60.xml"/><Relationship Id="rId27" Type="http://schemas.openxmlformats.org/officeDocument/2006/relationships/slideLayout" Target="../slideLayouts/slideLayout65.xml"/><Relationship Id="rId30" Type="http://schemas.openxmlformats.org/officeDocument/2006/relationships/slideLayout" Target="../slideLayouts/slideLayout68.xml"/><Relationship Id="rId35" Type="http://schemas.openxmlformats.org/officeDocument/2006/relationships/slideLayout" Target="../slideLayouts/slideLayout7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13" Type="http://schemas.openxmlformats.org/officeDocument/2006/relationships/slideLayout" Target="../slideLayouts/slideLayout88.x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78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82.xml"/><Relationship Id="rId12" Type="http://schemas.openxmlformats.org/officeDocument/2006/relationships/slideLayout" Target="../slideLayouts/slideLayout87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77.xml"/><Relationship Id="rId16" Type="http://schemas.openxmlformats.org/officeDocument/2006/relationships/vmlDrawing" Target="../drawings/vmlDrawing4.vml"/><Relationship Id="rId20" Type="http://schemas.openxmlformats.org/officeDocument/2006/relationships/image" Target="../media/image9.emf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5" Type="http://schemas.openxmlformats.org/officeDocument/2006/relationships/slideLayout" Target="../slideLayouts/slideLayout80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85.xml"/><Relationship Id="rId19" Type="http://schemas.openxmlformats.org/officeDocument/2006/relationships/oleObject" Target="../embeddings/oleObject4.bin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4" Type="http://schemas.openxmlformats.org/officeDocument/2006/relationships/slideLayout" Target="../slideLayouts/slideLayout89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5.vml"/><Relationship Id="rId7" Type="http://schemas.openxmlformats.org/officeDocument/2006/relationships/image" Target="../media/image2.jpe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90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tags" Target="../tags/tag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13" Type="http://schemas.openxmlformats.org/officeDocument/2006/relationships/slideLayout" Target="../slideLayouts/slideLayout103.xml"/><Relationship Id="rId18" Type="http://schemas.openxmlformats.org/officeDocument/2006/relationships/slideLayout" Target="../slideLayouts/slideLayout108.xml"/><Relationship Id="rId3" Type="http://schemas.openxmlformats.org/officeDocument/2006/relationships/slideLayout" Target="../slideLayouts/slideLayout93.xml"/><Relationship Id="rId21" Type="http://schemas.openxmlformats.org/officeDocument/2006/relationships/theme" Target="../theme/theme6.xml"/><Relationship Id="rId7" Type="http://schemas.openxmlformats.org/officeDocument/2006/relationships/slideLayout" Target="../slideLayouts/slideLayout97.xml"/><Relationship Id="rId12" Type="http://schemas.openxmlformats.org/officeDocument/2006/relationships/slideLayout" Target="../slideLayouts/slideLayout102.xml"/><Relationship Id="rId17" Type="http://schemas.openxmlformats.org/officeDocument/2006/relationships/slideLayout" Target="../slideLayouts/slideLayout107.xml"/><Relationship Id="rId25" Type="http://schemas.openxmlformats.org/officeDocument/2006/relationships/image" Target="../media/image5.emf"/><Relationship Id="rId2" Type="http://schemas.openxmlformats.org/officeDocument/2006/relationships/slideLayout" Target="../slideLayouts/slideLayout92.xml"/><Relationship Id="rId16" Type="http://schemas.openxmlformats.org/officeDocument/2006/relationships/slideLayout" Target="../slideLayouts/slideLayout106.xml"/><Relationship Id="rId20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101.xml"/><Relationship Id="rId24" Type="http://schemas.openxmlformats.org/officeDocument/2006/relationships/oleObject" Target="../embeddings/oleObject6.bin"/><Relationship Id="rId5" Type="http://schemas.openxmlformats.org/officeDocument/2006/relationships/slideLayout" Target="../slideLayouts/slideLayout95.xml"/><Relationship Id="rId15" Type="http://schemas.openxmlformats.org/officeDocument/2006/relationships/slideLayout" Target="../slideLayouts/slideLayout105.xml"/><Relationship Id="rId23" Type="http://schemas.openxmlformats.org/officeDocument/2006/relationships/tags" Target="../tags/tag8.xml"/><Relationship Id="rId10" Type="http://schemas.openxmlformats.org/officeDocument/2006/relationships/slideLayout" Target="../slideLayouts/slideLayout100.xml"/><Relationship Id="rId19" Type="http://schemas.openxmlformats.org/officeDocument/2006/relationships/slideLayout" Target="../slideLayouts/slideLayout109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Relationship Id="rId14" Type="http://schemas.openxmlformats.org/officeDocument/2006/relationships/slideLayout" Target="../slideLayouts/slideLayout104.xml"/><Relationship Id="rId22" Type="http://schemas.openxmlformats.org/officeDocument/2006/relationships/vmlDrawing" Target="../drawings/vmlDrawing6.v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8.xml"/><Relationship Id="rId13" Type="http://schemas.openxmlformats.org/officeDocument/2006/relationships/slideLayout" Target="../slideLayouts/slideLayout123.xml"/><Relationship Id="rId18" Type="http://schemas.openxmlformats.org/officeDocument/2006/relationships/slideLayout" Target="../slideLayouts/slideLayout128.xml"/><Relationship Id="rId26" Type="http://schemas.openxmlformats.org/officeDocument/2006/relationships/slideLayout" Target="../slideLayouts/slideLayout136.xml"/><Relationship Id="rId39" Type="http://schemas.openxmlformats.org/officeDocument/2006/relationships/vmlDrawing" Target="../drawings/vmlDrawing7.vml"/><Relationship Id="rId3" Type="http://schemas.openxmlformats.org/officeDocument/2006/relationships/slideLayout" Target="../slideLayouts/slideLayout113.xml"/><Relationship Id="rId21" Type="http://schemas.openxmlformats.org/officeDocument/2006/relationships/slideLayout" Target="../slideLayouts/slideLayout131.xml"/><Relationship Id="rId34" Type="http://schemas.openxmlformats.org/officeDocument/2006/relationships/slideLayout" Target="../slideLayouts/slideLayout144.xml"/><Relationship Id="rId42" Type="http://schemas.openxmlformats.org/officeDocument/2006/relationships/image" Target="../media/image5.emf"/><Relationship Id="rId7" Type="http://schemas.openxmlformats.org/officeDocument/2006/relationships/slideLayout" Target="../slideLayouts/slideLayout117.xml"/><Relationship Id="rId12" Type="http://schemas.openxmlformats.org/officeDocument/2006/relationships/slideLayout" Target="../slideLayouts/slideLayout122.xml"/><Relationship Id="rId17" Type="http://schemas.openxmlformats.org/officeDocument/2006/relationships/slideLayout" Target="../slideLayouts/slideLayout127.xml"/><Relationship Id="rId25" Type="http://schemas.openxmlformats.org/officeDocument/2006/relationships/slideLayout" Target="../slideLayouts/slideLayout135.xml"/><Relationship Id="rId33" Type="http://schemas.openxmlformats.org/officeDocument/2006/relationships/slideLayout" Target="../slideLayouts/slideLayout143.xml"/><Relationship Id="rId38" Type="http://schemas.openxmlformats.org/officeDocument/2006/relationships/theme" Target="../theme/theme7.xml"/><Relationship Id="rId2" Type="http://schemas.openxmlformats.org/officeDocument/2006/relationships/slideLayout" Target="../slideLayouts/slideLayout112.xml"/><Relationship Id="rId16" Type="http://schemas.openxmlformats.org/officeDocument/2006/relationships/slideLayout" Target="../slideLayouts/slideLayout126.xml"/><Relationship Id="rId20" Type="http://schemas.openxmlformats.org/officeDocument/2006/relationships/slideLayout" Target="../slideLayouts/slideLayout130.xml"/><Relationship Id="rId29" Type="http://schemas.openxmlformats.org/officeDocument/2006/relationships/slideLayout" Target="../slideLayouts/slideLayout139.xml"/><Relationship Id="rId41" Type="http://schemas.openxmlformats.org/officeDocument/2006/relationships/oleObject" Target="../embeddings/oleObject7.bin"/><Relationship Id="rId1" Type="http://schemas.openxmlformats.org/officeDocument/2006/relationships/slideLayout" Target="../slideLayouts/slideLayout111.xml"/><Relationship Id="rId6" Type="http://schemas.openxmlformats.org/officeDocument/2006/relationships/slideLayout" Target="../slideLayouts/slideLayout116.xml"/><Relationship Id="rId11" Type="http://schemas.openxmlformats.org/officeDocument/2006/relationships/slideLayout" Target="../slideLayouts/slideLayout121.xml"/><Relationship Id="rId24" Type="http://schemas.openxmlformats.org/officeDocument/2006/relationships/slideLayout" Target="../slideLayouts/slideLayout134.xml"/><Relationship Id="rId32" Type="http://schemas.openxmlformats.org/officeDocument/2006/relationships/slideLayout" Target="../slideLayouts/slideLayout142.xml"/><Relationship Id="rId37" Type="http://schemas.openxmlformats.org/officeDocument/2006/relationships/slideLayout" Target="../slideLayouts/slideLayout147.xml"/><Relationship Id="rId40" Type="http://schemas.openxmlformats.org/officeDocument/2006/relationships/tags" Target="../tags/tag9.xml"/><Relationship Id="rId5" Type="http://schemas.openxmlformats.org/officeDocument/2006/relationships/slideLayout" Target="../slideLayouts/slideLayout115.xml"/><Relationship Id="rId15" Type="http://schemas.openxmlformats.org/officeDocument/2006/relationships/slideLayout" Target="../slideLayouts/slideLayout125.xml"/><Relationship Id="rId23" Type="http://schemas.openxmlformats.org/officeDocument/2006/relationships/slideLayout" Target="../slideLayouts/slideLayout133.xml"/><Relationship Id="rId28" Type="http://schemas.openxmlformats.org/officeDocument/2006/relationships/slideLayout" Target="../slideLayouts/slideLayout138.xml"/><Relationship Id="rId36" Type="http://schemas.openxmlformats.org/officeDocument/2006/relationships/slideLayout" Target="../slideLayouts/slideLayout146.xml"/><Relationship Id="rId10" Type="http://schemas.openxmlformats.org/officeDocument/2006/relationships/slideLayout" Target="../slideLayouts/slideLayout120.xml"/><Relationship Id="rId19" Type="http://schemas.openxmlformats.org/officeDocument/2006/relationships/slideLayout" Target="../slideLayouts/slideLayout129.xml"/><Relationship Id="rId31" Type="http://schemas.openxmlformats.org/officeDocument/2006/relationships/slideLayout" Target="../slideLayouts/slideLayout141.xml"/><Relationship Id="rId44" Type="http://schemas.openxmlformats.org/officeDocument/2006/relationships/image" Target="../media/image11.svg"/><Relationship Id="rId4" Type="http://schemas.openxmlformats.org/officeDocument/2006/relationships/slideLayout" Target="../slideLayouts/slideLayout114.xml"/><Relationship Id="rId9" Type="http://schemas.openxmlformats.org/officeDocument/2006/relationships/slideLayout" Target="../slideLayouts/slideLayout119.xml"/><Relationship Id="rId14" Type="http://schemas.openxmlformats.org/officeDocument/2006/relationships/slideLayout" Target="../slideLayouts/slideLayout124.xml"/><Relationship Id="rId22" Type="http://schemas.openxmlformats.org/officeDocument/2006/relationships/slideLayout" Target="../slideLayouts/slideLayout132.xml"/><Relationship Id="rId27" Type="http://schemas.openxmlformats.org/officeDocument/2006/relationships/slideLayout" Target="../slideLayouts/slideLayout137.xml"/><Relationship Id="rId30" Type="http://schemas.openxmlformats.org/officeDocument/2006/relationships/slideLayout" Target="../slideLayouts/slideLayout140.xml"/><Relationship Id="rId35" Type="http://schemas.openxmlformats.org/officeDocument/2006/relationships/slideLayout" Target="../slideLayouts/slideLayout145.xml"/><Relationship Id="rId43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3" imgW="395" imgH="396" progId="TCLayout.ActiveDocument.1">
                  <p:embed/>
                </p:oleObj>
              </mc:Choice>
              <mc:Fallback>
                <p:oleObj name="think-cell Slide" r:id="rId23" imgW="395" imgH="396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/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nb-NO" sz="25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00075" y="900113"/>
            <a:ext cx="8701088" cy="72009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0075" y="1950245"/>
            <a:ext cx="8701088" cy="435054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0075" y="6510815"/>
            <a:ext cx="960120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3651F3-9B16-40C6-B209-3688FC9C95F6}" type="datetimeFigureOut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1857625" y="6510815"/>
            <a:ext cx="7443538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1284364" y="6510815"/>
            <a:ext cx="288036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pic>
        <p:nvPicPr>
          <p:cNvPr id="8" name="Bilde 7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8768" y="277056"/>
            <a:ext cx="1595120" cy="325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6208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  <p:sldLayoutId id="2147483771" r:id="rId12"/>
    <p:sldLayoutId id="2147483772" r:id="rId13"/>
    <p:sldLayoutId id="2147483773" r:id="rId14"/>
    <p:sldLayoutId id="2147483774" r:id="rId15"/>
    <p:sldLayoutId id="2147484060" r:id="rId16"/>
    <p:sldLayoutId id="2147484061" r:id="rId17"/>
    <p:sldLayoutId id="2147484062" r:id="rId18"/>
  </p:sldLayoutIdLst>
  <p:txStyles>
    <p:titleStyle>
      <a:lvl1pPr algn="l" defTabSz="761940" rtl="0" eaLnBrk="1" latinLnBrk="0" hangingPunct="1">
        <a:lnSpc>
          <a:spcPts val="2667"/>
        </a:lnSpc>
        <a:spcBef>
          <a:spcPct val="0"/>
        </a:spcBef>
        <a:buNone/>
        <a:defRPr sz="25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986" indent="-179986" algn="l" defTabSz="761940" rtl="0" eaLnBrk="1" latinLnBrk="0" hangingPunct="1">
        <a:lnSpc>
          <a:spcPts val="2167"/>
        </a:lnSpc>
        <a:spcBef>
          <a:spcPts val="333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9971" indent="-179986" algn="l" defTabSz="761940" rtl="0" eaLnBrk="1" latinLnBrk="0" hangingPunct="1">
        <a:lnSpc>
          <a:spcPts val="2167"/>
        </a:lnSpc>
        <a:spcBef>
          <a:spcPts val="333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39957" indent="-179986" algn="l" defTabSz="761940" rtl="0" eaLnBrk="1" latinLnBrk="0" hangingPunct="1">
        <a:lnSpc>
          <a:spcPts val="1833"/>
        </a:lnSpc>
        <a:spcBef>
          <a:spcPts val="333"/>
        </a:spcBef>
        <a:buFont typeface="Arial" panose="020B0604020202020204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3pPr>
      <a:lvl4pPr marL="719942" indent="-179986" algn="l" defTabSz="761940" rtl="0" eaLnBrk="1" latinLnBrk="0" hangingPunct="1">
        <a:lnSpc>
          <a:spcPts val="1667"/>
        </a:lnSpc>
        <a:spcBef>
          <a:spcPts val="333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899928" indent="-179986" algn="l" defTabSz="761940" rtl="0" eaLnBrk="1" latinLnBrk="0" hangingPunct="1">
        <a:lnSpc>
          <a:spcPts val="1500"/>
        </a:lnSpc>
        <a:spcBef>
          <a:spcPts val="333"/>
        </a:spcBef>
        <a:buFont typeface="Arial" panose="020B0604020202020204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2095332" indent="-190484" algn="l" defTabSz="76194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476302" indent="-190484" algn="l" defTabSz="76194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272" indent="-190484" algn="l" defTabSz="76194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238240" indent="-190484" algn="l" defTabSz="76194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76194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0970" algn="l" defTabSz="76194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1940" algn="l" defTabSz="76194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42908" algn="l" defTabSz="76194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23878" algn="l" defTabSz="76194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04848" algn="l" defTabSz="76194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85818" algn="l" defTabSz="76194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66787" algn="l" defTabSz="76194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47756" algn="l" defTabSz="76194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CAC5AAE-0A38-42A7-AFA2-53C08F2A05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608073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24" imgW="443" imgH="446" progId="TCLayout.ActiveDocument.1">
                  <p:embed/>
                </p:oleObj>
              </mc:Choice>
              <mc:Fallback>
                <p:oleObj name="think-cell Slide" r:id="rId24" imgW="443" imgH="44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CAC5AAE-0A38-42A7-AFA2-53C08F2A05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E76DCC81-28CF-43BD-AB01-4A5711483D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864038"/>
            <a:ext cx="8763000" cy="116955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1D41D179-E467-48CF-9B46-3F4C1069CF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96926" y="2413001"/>
            <a:ext cx="10594975" cy="364966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B8CDE90B-F9D0-4094-A5DB-5AA1AE39E2F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-133925"/>
            <a:ext cx="2743200" cy="1538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">
                <a:solidFill>
                  <a:schemeClr val="dk2"/>
                </a:solidFill>
              </a:defRPr>
            </a:lvl1pPr>
          </a:lstStyle>
          <a:p>
            <a:fld id="{38A75211-4ABF-4D09-AFA8-C3A9EEE6E2FC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5A99EDB-DC56-4B77-9C83-A4B87C16B2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4912" y="6354991"/>
            <a:ext cx="10177200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400">
                <a:solidFill>
                  <a:schemeClr val="dk2"/>
                </a:solidFill>
              </a:defRPr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9F23CF0F-671C-4A4D-87DD-A1299D7B8F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7357" y="6354991"/>
            <a:ext cx="254543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400">
                <a:solidFill>
                  <a:schemeClr val="dk2"/>
                </a:solidFill>
              </a:defRPr>
            </a:lvl1pPr>
          </a:lstStyle>
          <a:p>
            <a:r>
              <a:rPr lang="nb-NO"/>
              <a:t> </a:t>
            </a:r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563EBB76-0109-8946-A231-B55D072A430D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6766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84424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928" r:id="rId3"/>
    <p:sldLayoutId id="2147483929" r:id="rId4"/>
    <p:sldLayoutId id="2147483930" r:id="rId5"/>
    <p:sldLayoutId id="2147483931" r:id="rId6"/>
    <p:sldLayoutId id="2147483932" r:id="rId7"/>
    <p:sldLayoutId id="2147483933" r:id="rId8"/>
    <p:sldLayoutId id="2147483934" r:id="rId9"/>
    <p:sldLayoutId id="2147483935" r:id="rId10"/>
    <p:sldLayoutId id="2147483936" r:id="rId11"/>
    <p:sldLayoutId id="2147483937" r:id="rId12"/>
    <p:sldLayoutId id="2147483938" r:id="rId13"/>
    <p:sldLayoutId id="2147483939" r:id="rId14"/>
    <p:sldLayoutId id="2147483940" r:id="rId15"/>
    <p:sldLayoutId id="2147483941" r:id="rId16"/>
    <p:sldLayoutId id="2147483942" r:id="rId17"/>
    <p:sldLayoutId id="2147483943" r:id="rId18"/>
    <p:sldLayoutId id="2147483944" r:id="rId19"/>
    <p:sldLayoutId id="2147483945" r:id="rId20"/>
  </p:sldLayoutIdLst>
  <p:hf sldNum="0" hdr="0" ftr="0" dt="0"/>
  <p:txStyles>
    <p:titleStyle>
      <a:lvl1pPr algn="l" defTabSz="914363" rtl="0" eaLnBrk="1" latinLnBrk="0" hangingPunct="1">
        <a:lnSpc>
          <a:spcPct val="100000"/>
        </a:lnSpc>
        <a:spcBef>
          <a:spcPct val="0"/>
        </a:spcBef>
        <a:buNone/>
        <a:defRPr sz="38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304788" indent="-304788" algn="l" defTabSz="914363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dk2"/>
          </a:solidFill>
          <a:latin typeface="+mn-lt"/>
          <a:ea typeface="+mn-ea"/>
          <a:cs typeface="+mn-cs"/>
        </a:defRPr>
      </a:lvl1pPr>
      <a:lvl2pPr marL="609576" indent="-304788" algn="l" defTabSz="914363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dk2"/>
          </a:solidFill>
          <a:latin typeface="+mn-lt"/>
          <a:ea typeface="+mn-ea"/>
          <a:cs typeface="+mn-cs"/>
        </a:defRPr>
      </a:lvl2pPr>
      <a:lvl3pPr marL="914363" indent="-304788" algn="l" defTabSz="914363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dk2"/>
          </a:solidFill>
          <a:latin typeface="+mn-lt"/>
          <a:ea typeface="+mn-ea"/>
          <a:cs typeface="+mn-cs"/>
        </a:defRPr>
      </a:lvl3pPr>
      <a:lvl4pPr marL="1219151" indent="-304788" algn="l" defTabSz="914363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dk2"/>
          </a:solidFill>
          <a:latin typeface="+mn-lt"/>
          <a:ea typeface="+mn-ea"/>
          <a:cs typeface="+mn-cs"/>
        </a:defRPr>
      </a:lvl4pPr>
      <a:lvl5pPr marL="1523939" indent="-304788" algn="l" defTabSz="914363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dk2"/>
          </a:solidFill>
          <a:latin typeface="+mn-lt"/>
          <a:ea typeface="+mn-ea"/>
          <a:cs typeface="+mn-cs"/>
        </a:defRPr>
      </a:lvl5pPr>
      <a:lvl6pPr marL="2514499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81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63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45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3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15">
          <p15:clr>
            <a:srgbClr val="F26B43"/>
          </p15:clr>
        </p15:guide>
        <p15:guide id="2" orient="horz" pos="3819">
          <p15:clr>
            <a:srgbClr val="F26B43"/>
          </p15:clr>
        </p15:guide>
        <p15:guide id="3" pos="502">
          <p15:clr>
            <a:srgbClr val="F26B43"/>
          </p15:clr>
        </p15:guide>
        <p15:guide id="8" pos="3714">
          <p15:clr>
            <a:srgbClr val="F26B43"/>
          </p15:clr>
        </p15:guide>
        <p15:guide id="9" pos="3963">
          <p15:clr>
            <a:srgbClr val="F26B43"/>
          </p15:clr>
        </p15:guide>
        <p15:guide id="12" pos="7174">
          <p15:clr>
            <a:srgbClr val="F26B43"/>
          </p15:clr>
        </p15:guide>
        <p15:guide id="16" pos="7421">
          <p15:clr>
            <a:srgbClr val="F26B43"/>
          </p15:clr>
        </p15:guide>
        <p15:guide id="17" pos="25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DFC7240-CA55-4532-8A9A-2982CB36D6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1990634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6" name="think-cell Slide" r:id="rId41" imgW="443" imgH="446" progId="TCLayout.ActiveDocument.1">
                  <p:embed/>
                </p:oleObj>
              </mc:Choice>
              <mc:Fallback>
                <p:oleObj name="think-cell Slide" r:id="rId41" imgW="443" imgH="44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DFC7240-CA55-4532-8A9A-2982CB36D6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E76DCC81-28CF-43BD-AB01-4A5711483D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864037"/>
            <a:ext cx="8763000" cy="116955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1D41D179-E467-48CF-9B46-3F4C1069CF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96925" y="2413000"/>
            <a:ext cx="10594975" cy="364966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B8CDE90B-F9D0-4094-A5DB-5AA1AE39E2F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-133925"/>
            <a:ext cx="2743200" cy="1538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">
                <a:solidFill>
                  <a:schemeClr val="dk2"/>
                </a:solidFill>
              </a:defRPr>
            </a:lvl1pPr>
          </a:lstStyle>
          <a:p>
            <a:fld id="{38A75211-4ABF-4D09-AFA8-C3A9EEE6E2FC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5A99EDB-DC56-4B77-9C83-A4B87C16B2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4912" y="6354990"/>
            <a:ext cx="10177200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400">
                <a:solidFill>
                  <a:schemeClr val="dk2"/>
                </a:solidFill>
              </a:defRPr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9F23CF0F-671C-4A4D-87DD-A1299D7B8F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7356" y="6354990"/>
            <a:ext cx="254543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400">
                <a:solidFill>
                  <a:schemeClr val="dk2"/>
                </a:solidFill>
              </a:defRPr>
            </a:lvl1pPr>
          </a:lstStyle>
          <a:p>
            <a:r>
              <a:rPr lang="nb-NO"/>
              <a:t> </a:t>
            </a:r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563EBB76-0109-8946-A231-B55D072A430D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8906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7" r:id="rId1"/>
    <p:sldLayoutId id="2147483948" r:id="rId2"/>
    <p:sldLayoutId id="2147483949" r:id="rId3"/>
    <p:sldLayoutId id="2147483950" r:id="rId4"/>
    <p:sldLayoutId id="2147483951" r:id="rId5"/>
    <p:sldLayoutId id="2147483952" r:id="rId6"/>
    <p:sldLayoutId id="2147483953" r:id="rId7"/>
    <p:sldLayoutId id="2147483954" r:id="rId8"/>
    <p:sldLayoutId id="2147483955" r:id="rId9"/>
    <p:sldLayoutId id="2147483956" r:id="rId10"/>
    <p:sldLayoutId id="2147483957" r:id="rId11"/>
    <p:sldLayoutId id="2147483958" r:id="rId12"/>
    <p:sldLayoutId id="2147483959" r:id="rId13"/>
    <p:sldLayoutId id="2147483960" r:id="rId14"/>
    <p:sldLayoutId id="2147483961" r:id="rId15"/>
    <p:sldLayoutId id="2147483962" r:id="rId16"/>
    <p:sldLayoutId id="2147483963" r:id="rId17"/>
    <p:sldLayoutId id="2147483964" r:id="rId18"/>
    <p:sldLayoutId id="2147483965" r:id="rId19"/>
    <p:sldLayoutId id="2147483966" r:id="rId20"/>
    <p:sldLayoutId id="2147483967" r:id="rId21"/>
    <p:sldLayoutId id="2147483968" r:id="rId22"/>
    <p:sldLayoutId id="2147483969" r:id="rId23"/>
    <p:sldLayoutId id="2147483970" r:id="rId24"/>
    <p:sldLayoutId id="2147483971" r:id="rId25"/>
    <p:sldLayoutId id="2147483972" r:id="rId26"/>
    <p:sldLayoutId id="2147483973" r:id="rId27"/>
    <p:sldLayoutId id="2147483974" r:id="rId28"/>
    <p:sldLayoutId id="2147483975" r:id="rId29"/>
    <p:sldLayoutId id="2147483976" r:id="rId30"/>
    <p:sldLayoutId id="2147483977" r:id="rId31"/>
    <p:sldLayoutId id="2147483978" r:id="rId32"/>
    <p:sldLayoutId id="2147483979" r:id="rId33"/>
    <p:sldLayoutId id="2147483980" r:id="rId34"/>
    <p:sldLayoutId id="2147483981" r:id="rId35"/>
    <p:sldLayoutId id="2147483982" r:id="rId36"/>
    <p:sldLayoutId id="2147483983" r:id="rId37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8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304800" indent="-3048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dk2"/>
          </a:solidFill>
          <a:latin typeface="+mn-lt"/>
          <a:ea typeface="+mn-ea"/>
          <a:cs typeface="+mn-cs"/>
        </a:defRPr>
      </a:lvl1pPr>
      <a:lvl2pPr marL="609600" indent="-3048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dk2"/>
          </a:solidFill>
          <a:latin typeface="+mn-lt"/>
          <a:ea typeface="+mn-ea"/>
          <a:cs typeface="+mn-cs"/>
        </a:defRPr>
      </a:lvl2pPr>
      <a:lvl3pPr marL="914400" indent="-3048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dk2"/>
          </a:solidFill>
          <a:latin typeface="+mn-lt"/>
          <a:ea typeface="+mn-ea"/>
          <a:cs typeface="+mn-cs"/>
        </a:defRPr>
      </a:lvl3pPr>
      <a:lvl4pPr marL="1219200" indent="-3048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dk2"/>
          </a:solidFill>
          <a:latin typeface="+mn-lt"/>
          <a:ea typeface="+mn-ea"/>
          <a:cs typeface="+mn-cs"/>
        </a:defRPr>
      </a:lvl4pPr>
      <a:lvl5pPr marL="1524000" indent="-3048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dk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15">
          <p15:clr>
            <a:srgbClr val="F26B43"/>
          </p15:clr>
        </p15:guide>
        <p15:guide id="2" orient="horz" pos="3819">
          <p15:clr>
            <a:srgbClr val="F26B43"/>
          </p15:clr>
        </p15:guide>
        <p15:guide id="3" pos="502">
          <p15:clr>
            <a:srgbClr val="F26B43"/>
          </p15:clr>
        </p15:guide>
        <p15:guide id="8" pos="3714">
          <p15:clr>
            <a:srgbClr val="F26B43"/>
          </p15:clr>
        </p15:guide>
        <p15:guide id="9" pos="3963">
          <p15:clr>
            <a:srgbClr val="F26B43"/>
          </p15:clr>
        </p15:guide>
        <p15:guide id="12" pos="7174">
          <p15:clr>
            <a:srgbClr val="F26B43"/>
          </p15:clr>
        </p15:guide>
        <p15:guide id="16" pos="7421">
          <p15:clr>
            <a:srgbClr val="F26B43"/>
          </p15:clr>
        </p15:guide>
        <p15:guide id="17" pos="25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628595770"/>
              </p:ext>
            </p:extLst>
          </p:nvPr>
        </p:nvGraphicFramePr>
        <p:xfrm>
          <a:off x="1324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98" name="think-cell Slide" r:id="rId19" imgW="408" imgH="408" progId="TCLayout.ActiveDocument.1">
                  <p:embed/>
                </p:oleObj>
              </mc:Choice>
              <mc:Fallback>
                <p:oleObj name="think-cell Slide" r:id="rId19" imgW="408" imgH="408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324" y="1323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ktangel 9" hidden="1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32292" cy="1322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nb-NO" sz="25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00075" y="900113"/>
            <a:ext cx="8701088" cy="72009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0075" y="1950245"/>
            <a:ext cx="8701088" cy="435054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0075" y="6510815"/>
            <a:ext cx="960120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3651F3-9B16-40C6-B209-3688FC9C95F6}" type="datetimeFigureOut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1857625" y="6510815"/>
            <a:ext cx="7443538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1284363" y="6510815"/>
            <a:ext cx="288036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pic>
        <p:nvPicPr>
          <p:cNvPr id="8" name="Bilde 7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8768" y="277056"/>
            <a:ext cx="1595120" cy="325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38761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6" r:id="rId1"/>
    <p:sldLayoutId id="2147484047" r:id="rId2"/>
    <p:sldLayoutId id="2147484048" r:id="rId3"/>
    <p:sldLayoutId id="2147484049" r:id="rId4"/>
    <p:sldLayoutId id="2147484050" r:id="rId5"/>
    <p:sldLayoutId id="2147484051" r:id="rId6"/>
    <p:sldLayoutId id="2147484052" r:id="rId7"/>
    <p:sldLayoutId id="2147484053" r:id="rId8"/>
    <p:sldLayoutId id="2147484054" r:id="rId9"/>
    <p:sldLayoutId id="2147484055" r:id="rId10"/>
    <p:sldLayoutId id="2147484056" r:id="rId11"/>
    <p:sldLayoutId id="2147484057" r:id="rId12"/>
    <p:sldLayoutId id="2147484058" r:id="rId13"/>
    <p:sldLayoutId id="2147484059" r:id="rId14"/>
  </p:sldLayoutIdLst>
  <p:txStyles>
    <p:titleStyle>
      <a:lvl1pPr algn="l" defTabSz="761970" rtl="0" eaLnBrk="1" latinLnBrk="0" hangingPunct="1">
        <a:lnSpc>
          <a:spcPts val="2667"/>
        </a:lnSpc>
        <a:spcBef>
          <a:spcPct val="0"/>
        </a:spcBef>
        <a:buNone/>
        <a:defRPr sz="25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993" indent="-179993" algn="l" defTabSz="761970" rtl="0" eaLnBrk="1" latinLnBrk="0" hangingPunct="1">
        <a:lnSpc>
          <a:spcPts val="2167"/>
        </a:lnSpc>
        <a:spcBef>
          <a:spcPts val="333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9986" indent="-179993" algn="l" defTabSz="761970" rtl="0" eaLnBrk="1" latinLnBrk="0" hangingPunct="1">
        <a:lnSpc>
          <a:spcPts val="2167"/>
        </a:lnSpc>
        <a:spcBef>
          <a:spcPts val="333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39978" indent="-179993" algn="l" defTabSz="761970" rtl="0" eaLnBrk="1" latinLnBrk="0" hangingPunct="1">
        <a:lnSpc>
          <a:spcPts val="1833"/>
        </a:lnSpc>
        <a:spcBef>
          <a:spcPts val="333"/>
        </a:spcBef>
        <a:buFont typeface="Arial" panose="020B0604020202020204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3pPr>
      <a:lvl4pPr marL="719971" indent="-179993" algn="l" defTabSz="761970" rtl="0" eaLnBrk="1" latinLnBrk="0" hangingPunct="1">
        <a:lnSpc>
          <a:spcPts val="1667"/>
        </a:lnSpc>
        <a:spcBef>
          <a:spcPts val="333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899964" indent="-179993" algn="l" defTabSz="761970" rtl="0" eaLnBrk="1" latinLnBrk="0" hangingPunct="1">
        <a:lnSpc>
          <a:spcPts val="1500"/>
        </a:lnSpc>
        <a:spcBef>
          <a:spcPts val="333"/>
        </a:spcBef>
        <a:buFont typeface="Arial" panose="020B0604020202020204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2095416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476401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386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238370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0985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197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4295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2393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0492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8590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66893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47878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F3B70EDE-6DBC-4601-85C2-2C455242DA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861733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58" name="think-cell Slide" r:id="rId5" imgW="443" imgH="446" progId="TCLayout.ActiveDocument.1">
                  <p:embed/>
                </p:oleObj>
              </mc:Choice>
              <mc:Fallback>
                <p:oleObj name="think-cell Slide" r:id="rId5" imgW="443" imgH="44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F3B70EDE-6DBC-4601-85C2-2C455242DA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00075" y="900113"/>
            <a:ext cx="8701088" cy="72009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0075" y="1950245"/>
            <a:ext cx="8701088" cy="435054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00075" y="6510815"/>
            <a:ext cx="960120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3651F3-9B16-40C6-B209-3688FC9C95F6}" type="datetimeFigureOut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1857625" y="6510815"/>
            <a:ext cx="7443538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1284363" y="6510815"/>
            <a:ext cx="288036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pic>
        <p:nvPicPr>
          <p:cNvPr id="8" name="Bild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8768" y="277056"/>
            <a:ext cx="1595120" cy="325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710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4" r:id="rId1"/>
  </p:sldLayoutIdLst>
  <p:txStyles>
    <p:titleStyle>
      <a:lvl1pPr algn="l" defTabSz="761970" rtl="0" eaLnBrk="1" latinLnBrk="0" hangingPunct="1">
        <a:lnSpc>
          <a:spcPts val="2667"/>
        </a:lnSpc>
        <a:spcBef>
          <a:spcPct val="0"/>
        </a:spcBef>
        <a:buNone/>
        <a:defRPr sz="25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993" indent="-179993" algn="l" defTabSz="761970" rtl="0" eaLnBrk="1" latinLnBrk="0" hangingPunct="1">
        <a:lnSpc>
          <a:spcPts val="2167"/>
        </a:lnSpc>
        <a:spcBef>
          <a:spcPts val="333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9986" indent="-179993" algn="l" defTabSz="761970" rtl="0" eaLnBrk="1" latinLnBrk="0" hangingPunct="1">
        <a:lnSpc>
          <a:spcPts val="2167"/>
        </a:lnSpc>
        <a:spcBef>
          <a:spcPts val="333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39978" indent="-179993" algn="l" defTabSz="761970" rtl="0" eaLnBrk="1" latinLnBrk="0" hangingPunct="1">
        <a:lnSpc>
          <a:spcPts val="1833"/>
        </a:lnSpc>
        <a:spcBef>
          <a:spcPts val="333"/>
        </a:spcBef>
        <a:buFont typeface="Arial" panose="020B0604020202020204" pitchFamily="34" charset="0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3pPr>
      <a:lvl4pPr marL="719971" indent="-179993" algn="l" defTabSz="761970" rtl="0" eaLnBrk="1" latinLnBrk="0" hangingPunct="1">
        <a:lnSpc>
          <a:spcPts val="1667"/>
        </a:lnSpc>
        <a:spcBef>
          <a:spcPts val="333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899964" indent="-179993" algn="l" defTabSz="761970" rtl="0" eaLnBrk="1" latinLnBrk="0" hangingPunct="1">
        <a:lnSpc>
          <a:spcPts val="1500"/>
        </a:lnSpc>
        <a:spcBef>
          <a:spcPts val="333"/>
        </a:spcBef>
        <a:buFont typeface="Arial" panose="020B0604020202020204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2095416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476401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386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238370" indent="-190492" algn="l" defTabSz="761970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0985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1970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4295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2393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04924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85909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66893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47878" algn="l" defTabSz="761970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34E370D-9310-4DD5-9143-845BDB4828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264638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06" name="think-cell Slide" r:id="rId24" imgW="443" imgH="446" progId="TCLayout.ActiveDocument.1">
                  <p:embed/>
                </p:oleObj>
              </mc:Choice>
              <mc:Fallback>
                <p:oleObj name="think-cell Slide" r:id="rId24" imgW="443" imgH="44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34E370D-9310-4DD5-9143-845BDB4828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E76DCC81-28CF-43BD-AB01-4A5711483D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864037"/>
            <a:ext cx="8763000" cy="116955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1D41D179-E467-48CF-9B46-3F4C1069CF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96925" y="2413000"/>
            <a:ext cx="10594975" cy="364966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B8CDE90B-F9D0-4094-A5DB-5AA1AE39E2F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-133925"/>
            <a:ext cx="2743200" cy="1538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">
                <a:solidFill>
                  <a:schemeClr val="dk2"/>
                </a:solidFill>
              </a:defRPr>
            </a:lvl1pPr>
          </a:lstStyle>
          <a:p>
            <a:fld id="{38A75211-4ABF-4D09-AFA8-C3A9EEE6E2FC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5A99EDB-DC56-4B77-9C83-A4B87C16B2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4912" y="6354990"/>
            <a:ext cx="10177200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400">
                <a:solidFill>
                  <a:schemeClr val="dk2"/>
                </a:solidFill>
              </a:defRPr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9F23CF0F-671C-4A4D-87DD-A1299D7B8F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7356" y="6354990"/>
            <a:ext cx="254543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400">
                <a:solidFill>
                  <a:schemeClr val="dk2"/>
                </a:solidFill>
              </a:defRPr>
            </a:lvl1pPr>
          </a:lstStyle>
          <a:p>
            <a:r>
              <a:rPr lang="nb-NO"/>
              <a:t> </a:t>
            </a:r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563EBB76-0109-8946-A231-B55D072A430D}"/>
              </a:ext>
            </a:extLst>
          </p:cNvPr>
          <p:cNvPicPr>
            <a:picLocks noChangeAspect="1"/>
          </p:cNvPicPr>
          <p:nvPr userDrawn="1"/>
        </p:nvPicPr>
        <p:blipFill>
          <a:blip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84902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3" r:id="rId1"/>
    <p:sldLayoutId id="2147484024" r:id="rId2"/>
    <p:sldLayoutId id="2147484025" r:id="rId3"/>
    <p:sldLayoutId id="2147484026" r:id="rId4"/>
    <p:sldLayoutId id="2147484027" r:id="rId5"/>
    <p:sldLayoutId id="2147484028" r:id="rId6"/>
    <p:sldLayoutId id="2147484029" r:id="rId7"/>
    <p:sldLayoutId id="2147484030" r:id="rId8"/>
    <p:sldLayoutId id="2147484031" r:id="rId9"/>
    <p:sldLayoutId id="2147484032" r:id="rId10"/>
    <p:sldLayoutId id="2147484033" r:id="rId11"/>
    <p:sldLayoutId id="2147484034" r:id="rId12"/>
    <p:sldLayoutId id="2147484035" r:id="rId13"/>
    <p:sldLayoutId id="2147484036" r:id="rId14"/>
    <p:sldLayoutId id="2147484037" r:id="rId15"/>
    <p:sldLayoutId id="2147484038" r:id="rId16"/>
    <p:sldLayoutId id="2147484039" r:id="rId17"/>
    <p:sldLayoutId id="2147484040" r:id="rId18"/>
    <p:sldLayoutId id="2147484041" r:id="rId19"/>
    <p:sldLayoutId id="2147484042" r:id="rId20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8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304800" indent="-3048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dk2"/>
          </a:solidFill>
          <a:latin typeface="+mn-lt"/>
          <a:ea typeface="+mn-ea"/>
          <a:cs typeface="+mn-cs"/>
        </a:defRPr>
      </a:lvl1pPr>
      <a:lvl2pPr marL="609600" indent="-3048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dk2"/>
          </a:solidFill>
          <a:latin typeface="+mn-lt"/>
          <a:ea typeface="+mn-ea"/>
          <a:cs typeface="+mn-cs"/>
        </a:defRPr>
      </a:lvl2pPr>
      <a:lvl3pPr marL="914400" indent="-3048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dk2"/>
          </a:solidFill>
          <a:latin typeface="+mn-lt"/>
          <a:ea typeface="+mn-ea"/>
          <a:cs typeface="+mn-cs"/>
        </a:defRPr>
      </a:lvl3pPr>
      <a:lvl4pPr marL="1219200" indent="-3048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dk2"/>
          </a:solidFill>
          <a:latin typeface="+mn-lt"/>
          <a:ea typeface="+mn-ea"/>
          <a:cs typeface="+mn-cs"/>
        </a:defRPr>
      </a:lvl4pPr>
      <a:lvl5pPr marL="1524000" indent="-3048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dk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15">
          <p15:clr>
            <a:srgbClr val="F26B43"/>
          </p15:clr>
        </p15:guide>
        <p15:guide id="2" orient="horz" pos="3819">
          <p15:clr>
            <a:srgbClr val="F26B43"/>
          </p15:clr>
        </p15:guide>
        <p15:guide id="3" pos="502">
          <p15:clr>
            <a:srgbClr val="F26B43"/>
          </p15:clr>
        </p15:guide>
        <p15:guide id="8" pos="3714">
          <p15:clr>
            <a:srgbClr val="F26B43"/>
          </p15:clr>
        </p15:guide>
        <p15:guide id="9" pos="3963">
          <p15:clr>
            <a:srgbClr val="F26B43"/>
          </p15:clr>
        </p15:guide>
        <p15:guide id="12" pos="7174">
          <p15:clr>
            <a:srgbClr val="F26B43"/>
          </p15:clr>
        </p15:guide>
        <p15:guide id="16" pos="7421">
          <p15:clr>
            <a:srgbClr val="F26B43"/>
          </p15:clr>
        </p15:guide>
        <p15:guide id="17" pos="256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DC64B232-1654-40B7-AE59-FFC00193B4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1062743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10" name="think-cell Slide" r:id="rId41" imgW="443" imgH="446" progId="TCLayout.ActiveDocument.1">
                  <p:embed/>
                </p:oleObj>
              </mc:Choice>
              <mc:Fallback>
                <p:oleObj name="think-cell Slide" r:id="rId41" imgW="443" imgH="44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DC64B232-1654-40B7-AE59-FFC00193B4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E76DCC81-28CF-43BD-AB01-4A5711483D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864037"/>
            <a:ext cx="8763000" cy="1169551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1D41D179-E467-48CF-9B46-3F4C1069CF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96925" y="2413000"/>
            <a:ext cx="10594975" cy="364966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B8CDE90B-F9D0-4094-A5DB-5AA1AE39E2F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-133925"/>
            <a:ext cx="2743200" cy="1538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">
                <a:solidFill>
                  <a:schemeClr val="dk2"/>
                </a:solidFill>
              </a:defRPr>
            </a:lvl1pPr>
          </a:lstStyle>
          <a:p>
            <a:fld id="{38A75211-4ABF-4D09-AFA8-C3A9EEE6E2FC}" type="datetime1">
              <a:rPr lang="nb-NO" smtClean="0"/>
              <a:t>08.03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5A99EDB-DC56-4B77-9C83-A4B87C16B2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04912" y="6354990"/>
            <a:ext cx="10177200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400">
                <a:solidFill>
                  <a:schemeClr val="dk2"/>
                </a:solidFill>
              </a:defRPr>
            </a:lvl1pPr>
          </a:lstStyle>
          <a:p>
            <a:r>
              <a:rPr lang="nb-NO"/>
              <a:t>Sett tittel på presentasjonen via "Sett inn" -&gt; "Topptekst og bunntekst"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9F23CF0F-671C-4A4D-87DD-A1299D7B8F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7356" y="6354990"/>
            <a:ext cx="254543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400">
                <a:solidFill>
                  <a:schemeClr val="dk2"/>
                </a:solidFill>
              </a:defRPr>
            </a:lvl1pPr>
          </a:lstStyle>
          <a:p>
            <a:r>
              <a:rPr lang="nb-NO"/>
              <a:t> </a:t>
            </a:r>
            <a:fld id="{FF8458C2-5565-427F-8AB4-11699EB9333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563EBB76-0109-8946-A231-B55D072A430D}"/>
              </a:ext>
            </a:extLst>
          </p:cNvPr>
          <p:cNvPicPr>
            <a:picLocks noChangeAspect="1"/>
          </p:cNvPicPr>
          <p:nvPr userDrawn="1"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4"/>
              </a:ext>
            </a:extLst>
          </a:blip>
          <a:stretch>
            <a:fillRect/>
          </a:stretch>
        </p:blipFill>
        <p:spPr>
          <a:xfrm>
            <a:off x="9766765" y="300853"/>
            <a:ext cx="1683701" cy="43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89614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5" r:id="rId1"/>
    <p:sldLayoutId id="2147483986" r:id="rId2"/>
    <p:sldLayoutId id="2147483987" r:id="rId3"/>
    <p:sldLayoutId id="2147483988" r:id="rId4"/>
    <p:sldLayoutId id="2147483989" r:id="rId5"/>
    <p:sldLayoutId id="2147483990" r:id="rId6"/>
    <p:sldLayoutId id="2147483991" r:id="rId7"/>
    <p:sldLayoutId id="2147483992" r:id="rId8"/>
    <p:sldLayoutId id="2147483993" r:id="rId9"/>
    <p:sldLayoutId id="2147483994" r:id="rId10"/>
    <p:sldLayoutId id="2147483995" r:id="rId11"/>
    <p:sldLayoutId id="2147483996" r:id="rId12"/>
    <p:sldLayoutId id="2147483997" r:id="rId13"/>
    <p:sldLayoutId id="2147483998" r:id="rId14"/>
    <p:sldLayoutId id="2147483999" r:id="rId15"/>
    <p:sldLayoutId id="2147484000" r:id="rId16"/>
    <p:sldLayoutId id="2147484001" r:id="rId17"/>
    <p:sldLayoutId id="2147484002" r:id="rId18"/>
    <p:sldLayoutId id="2147484003" r:id="rId19"/>
    <p:sldLayoutId id="2147484004" r:id="rId20"/>
    <p:sldLayoutId id="2147484005" r:id="rId21"/>
    <p:sldLayoutId id="2147484006" r:id="rId22"/>
    <p:sldLayoutId id="2147484007" r:id="rId23"/>
    <p:sldLayoutId id="2147484008" r:id="rId24"/>
    <p:sldLayoutId id="2147484009" r:id="rId25"/>
    <p:sldLayoutId id="2147484010" r:id="rId26"/>
    <p:sldLayoutId id="2147484011" r:id="rId27"/>
    <p:sldLayoutId id="2147484012" r:id="rId28"/>
    <p:sldLayoutId id="2147484013" r:id="rId29"/>
    <p:sldLayoutId id="2147484014" r:id="rId30"/>
    <p:sldLayoutId id="2147484015" r:id="rId31"/>
    <p:sldLayoutId id="2147484016" r:id="rId32"/>
    <p:sldLayoutId id="2147484017" r:id="rId33"/>
    <p:sldLayoutId id="2147484018" r:id="rId34"/>
    <p:sldLayoutId id="2147484019" r:id="rId35"/>
    <p:sldLayoutId id="2147484020" r:id="rId36"/>
    <p:sldLayoutId id="2147484021" r:id="rId37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8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304800" indent="-3048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dk2"/>
          </a:solidFill>
          <a:latin typeface="+mn-lt"/>
          <a:ea typeface="+mn-ea"/>
          <a:cs typeface="+mn-cs"/>
        </a:defRPr>
      </a:lvl1pPr>
      <a:lvl2pPr marL="609600" indent="-3048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dk2"/>
          </a:solidFill>
          <a:latin typeface="+mn-lt"/>
          <a:ea typeface="+mn-ea"/>
          <a:cs typeface="+mn-cs"/>
        </a:defRPr>
      </a:lvl2pPr>
      <a:lvl3pPr marL="914400" indent="-3048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dk2"/>
          </a:solidFill>
          <a:latin typeface="+mn-lt"/>
          <a:ea typeface="+mn-ea"/>
          <a:cs typeface="+mn-cs"/>
        </a:defRPr>
      </a:lvl3pPr>
      <a:lvl4pPr marL="1219200" indent="-3048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dk2"/>
          </a:solidFill>
          <a:latin typeface="+mn-lt"/>
          <a:ea typeface="+mn-ea"/>
          <a:cs typeface="+mn-cs"/>
        </a:defRPr>
      </a:lvl4pPr>
      <a:lvl5pPr marL="1524000" indent="-3048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dk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15">
          <p15:clr>
            <a:srgbClr val="F26B43"/>
          </p15:clr>
        </p15:guide>
        <p15:guide id="2" orient="horz" pos="3819">
          <p15:clr>
            <a:srgbClr val="F26B43"/>
          </p15:clr>
        </p15:guide>
        <p15:guide id="3" pos="502">
          <p15:clr>
            <a:srgbClr val="F26B43"/>
          </p15:clr>
        </p15:guide>
        <p15:guide id="8" pos="3714">
          <p15:clr>
            <a:srgbClr val="F26B43"/>
          </p15:clr>
        </p15:guide>
        <p15:guide id="9" pos="3963">
          <p15:clr>
            <a:srgbClr val="F26B43"/>
          </p15:clr>
        </p15:guide>
        <p15:guide id="12" pos="7174">
          <p15:clr>
            <a:srgbClr val="F26B43"/>
          </p15:clr>
        </p15:guide>
        <p15:guide id="16" pos="7421">
          <p15:clr>
            <a:srgbClr val="F26B43"/>
          </p15:clr>
        </p15:guide>
        <p15:guide id="17" pos="25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F128010A-B3FB-4B1A-BE63-A2D4A62EB7D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nb-NO" b="0"/>
              <a:t>Prosess og tiltak økonomi – Helse Førde 2023</a:t>
            </a:r>
          </a:p>
        </p:txBody>
      </p:sp>
    </p:spTree>
    <p:extLst>
      <p:ext uri="{BB962C8B-B14F-4D97-AF65-F5344CB8AC3E}">
        <p14:creationId xmlns:p14="http://schemas.microsoft.com/office/powerpoint/2010/main" val="41633048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lassholder for innhold 5">
            <a:extLst>
              <a:ext uri="{FF2B5EF4-FFF2-40B4-BE49-F238E27FC236}">
                <a16:creationId xmlns:a16="http://schemas.microsoft.com/office/drawing/2014/main" id="{267F332C-26A9-4BCC-AD45-89E2DB854153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1" b="20492"/>
          <a:stretch/>
        </p:blipFill>
        <p:spPr>
          <a:xfrm>
            <a:off x="406400" y="976313"/>
            <a:ext cx="5603340" cy="5500034"/>
          </a:xfrm>
          <a:noFill/>
        </p:spPr>
      </p:pic>
      <p:pic>
        <p:nvPicPr>
          <p:cNvPr id="8" name="Bilde 7">
            <a:extLst>
              <a:ext uri="{FF2B5EF4-FFF2-40B4-BE49-F238E27FC236}">
                <a16:creationId xmlns:a16="http://schemas.microsoft.com/office/drawing/2014/main" id="{FD1210E4-2F08-47B2-A3E4-CCACDAF806F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87" r="-3" b="9687"/>
          <a:stretch/>
        </p:blipFill>
        <p:spPr>
          <a:xfrm>
            <a:off x="6182262" y="976313"/>
            <a:ext cx="5603340" cy="5500034"/>
          </a:xfrm>
          <a:prstGeom prst="rect">
            <a:avLst/>
          </a:prstGeom>
          <a:noFill/>
        </p:spPr>
      </p:pic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FD3E71D-5F98-8ED2-ECC2-BD760A595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57468" y="976312"/>
            <a:ext cx="107722" cy="550003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99804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sz="2800"/>
              <a:t>Økonomi - prosessen knytt til innsparing</a:t>
            </a:r>
            <a:endParaRPr lang="nn-NO" sz="3600">
              <a:cs typeface="Calibri" panose="020F0502020204030204"/>
            </a:endParaRPr>
          </a:p>
        </p:txBody>
      </p:sp>
      <p:sp>
        <p:nvSpPr>
          <p:cNvPr id="2" name="Plassholder for innhold 1"/>
          <p:cNvSpPr>
            <a:spLocks noGrp="1"/>
          </p:cNvSpPr>
          <p:nvPr>
            <p:ph idx="1"/>
          </p:nvPr>
        </p:nvSpPr>
        <p:spPr>
          <a:xfrm>
            <a:off x="600075" y="1483568"/>
            <a:ext cx="10943248" cy="4680586"/>
          </a:xfrm>
        </p:spPr>
        <p:txBody>
          <a:bodyPr vert="horz" lIns="0" tIns="0" rIns="0" bIns="0" rtlCol="0" anchor="t">
            <a:noAutofit/>
          </a:bodyPr>
          <a:lstStyle/>
          <a:p>
            <a:pPr marL="179705" indent="-179705"/>
            <a:endParaRPr lang="nn-NO" sz="2400">
              <a:cs typeface="Calibri"/>
            </a:endParaRPr>
          </a:p>
          <a:p>
            <a:pPr marL="179705" indent="-179705"/>
            <a:r>
              <a:rPr lang="nn-NO" sz="2400">
                <a:cs typeface="Calibri"/>
              </a:rPr>
              <a:t>Førebels resultat for år 2022 er 3,4 millionar, eit avvik mot budsjett på 26,6 millionar kroner. Det står att nokre årsoppgjersposteringar før endeleg resultat er klart. </a:t>
            </a:r>
            <a:endParaRPr lang="nn-NO"/>
          </a:p>
          <a:p>
            <a:pPr marL="179705" indent="-179705"/>
            <a:endParaRPr lang="nn-NO" sz="2400">
              <a:cs typeface="Calibri"/>
            </a:endParaRPr>
          </a:p>
          <a:p>
            <a:pPr marL="179705" indent="-179705"/>
            <a:r>
              <a:rPr lang="nn-NO" sz="2400">
                <a:cs typeface="Calibri"/>
              </a:rPr>
              <a:t>Budsjettet for 2023</a:t>
            </a:r>
          </a:p>
          <a:p>
            <a:pPr marL="359410" lvl="1" indent="-179705">
              <a:buFont typeface="Calibri" panose="020F0502020204030204" pitchFamily="34" charset="0"/>
              <a:buChar char="-"/>
            </a:pPr>
            <a:r>
              <a:rPr lang="nn-NO">
                <a:cs typeface="Calibri"/>
              </a:rPr>
              <a:t>Resultatkravet er redusert med 21 millionar til kroner 0,-.</a:t>
            </a:r>
          </a:p>
          <a:p>
            <a:pPr marL="359410" lvl="1" indent="-179705">
              <a:buFont typeface="Calibri" panose="020F0502020204030204" pitchFamily="34" charset="0"/>
              <a:buChar char="-"/>
            </a:pPr>
            <a:r>
              <a:rPr lang="nn-NO">
                <a:cs typeface="Calibri"/>
              </a:rPr>
              <a:t>Det er innarbeidd tiltak på til saman 20 millionar i klinikkane.</a:t>
            </a:r>
          </a:p>
          <a:p>
            <a:pPr marL="359410" lvl="1" indent="-179705">
              <a:buFont typeface="Calibri" panose="020F0502020204030204" pitchFamily="34" charset="0"/>
              <a:buChar char="-"/>
            </a:pPr>
            <a:r>
              <a:rPr lang="nn-NO">
                <a:cs typeface="Calibri"/>
              </a:rPr>
              <a:t>Vedlikehaldsinvesteringane er om lag halverte, dvs. kutt på 25 millionar</a:t>
            </a:r>
          </a:p>
          <a:p>
            <a:pPr marL="359410" lvl="1" indent="-179705">
              <a:buFont typeface="Calibri" panose="020F0502020204030204" pitchFamily="34" charset="0"/>
              <a:buChar char="-"/>
            </a:pPr>
            <a:r>
              <a:rPr lang="nn-NO"/>
              <a:t>Det er behov for å finne ytterlegare tiltak tilsvarande 25 millionar kroner gjennom det komande året.</a:t>
            </a:r>
            <a:endParaRPr lang="nn-NO">
              <a:cs typeface="Calibri"/>
            </a:endParaRPr>
          </a:p>
          <a:p>
            <a:pPr marL="359410" lvl="1" indent="-179705">
              <a:buFont typeface="Calibri" panose="020F0502020204030204" pitchFamily="34" charset="0"/>
              <a:buChar char="-"/>
            </a:pPr>
            <a:endParaRPr lang="nn-NO" sz="1800">
              <a:cs typeface="Calibri"/>
            </a:endParaRPr>
          </a:p>
          <a:p>
            <a:pPr marL="0" indent="0">
              <a:buNone/>
            </a:pPr>
            <a:endParaRPr lang="nn-NO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804319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3B8F5C7-9EA0-49EC-A6EA-8F6BE1826C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925" y="266698"/>
            <a:ext cx="3267076" cy="1057275"/>
          </a:xfrm>
        </p:spPr>
        <p:txBody>
          <a:bodyPr wrap="square" anchor="b">
            <a:normAutofit/>
          </a:bodyPr>
          <a:lstStyle/>
          <a:p>
            <a:r>
              <a:rPr lang="nn-NO"/>
              <a:t>Utfordringsbiletet</a:t>
            </a:r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9642751E-00A6-4C7D-BD19-A2DEDD9A36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2763" y="1579114"/>
            <a:ext cx="7600185" cy="4847521"/>
          </a:xfrm>
          <a:prstGeom prst="rect">
            <a:avLst/>
          </a:prstGeom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FF6DD9D5-1013-4B81-9953-90C308851C80}"/>
              </a:ext>
            </a:extLst>
          </p:cNvPr>
          <p:cNvSpPr txBox="1"/>
          <p:nvPr/>
        </p:nvSpPr>
        <p:spPr>
          <a:xfrm>
            <a:off x="8679119" y="1157748"/>
            <a:ext cx="3267075" cy="526297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n-NO" sz="1400"/>
              <a:t>Prognosen for 2022 før siste saldering av statsbudsjettet var 70 millionar dårlegare enn budsjet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n-NO" sz="1400"/>
          </a:p>
          <a:p>
            <a:r>
              <a:rPr lang="nn-NO" sz="1400" b="1"/>
              <a:t>2022</a:t>
            </a:r>
            <a:endParaRPr lang="nn-NO" sz="1400" b="1"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n-NO" sz="1400"/>
              <a:t>Ekstraløyvinga på 2,5 </a:t>
            </a:r>
            <a:r>
              <a:rPr lang="nn-NO" sz="1400" err="1"/>
              <a:t>mrd</a:t>
            </a:r>
            <a:r>
              <a:rPr lang="nn-NO" sz="1400"/>
              <a:t> </a:t>
            </a:r>
            <a:r>
              <a:rPr lang="nn-NO" sz="1400" err="1"/>
              <a:t>tilsvarar</a:t>
            </a:r>
            <a:r>
              <a:rPr lang="nn-NO" sz="1400"/>
              <a:t> det som vart gitt i desember 2022.</a:t>
            </a:r>
            <a:endParaRPr lang="nn-NO" sz="1400"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n-NO" sz="1400"/>
              <a:t>HFD har i 2022 ei avvik på 26,5 millionar mot budsjett.</a:t>
            </a:r>
            <a:endParaRPr lang="nn-NO" sz="1400"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n-NO" sz="1400"/>
          </a:p>
          <a:p>
            <a:r>
              <a:rPr lang="nn-NO" sz="1400" b="1"/>
              <a:t>2023</a:t>
            </a:r>
            <a:endParaRPr lang="nn-NO" sz="1400" b="1"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n-NO" sz="1400"/>
              <a:t>Føresetnad om inflasjon og lønnsoppgjer er for låge i budsjettet for 2023.</a:t>
            </a:r>
            <a:endParaRPr lang="nn-NO" sz="1400"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n-NO" sz="1400"/>
              <a:t>Signal om at dette skal ein dekke i revidert nasjonal-budsjett. </a:t>
            </a:r>
            <a:r>
              <a:rPr lang="nn-NO" sz="1400" err="1"/>
              <a:t>Spml</a:t>
            </a:r>
            <a:r>
              <a:rPr lang="nn-NO" sz="1400"/>
              <a:t> om det </a:t>
            </a:r>
            <a:r>
              <a:rPr lang="nn-NO" sz="1400" err="1"/>
              <a:t>dekkar</a:t>
            </a:r>
            <a:r>
              <a:rPr lang="nn-NO" sz="1400"/>
              <a:t> alt? 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n-NO" sz="1400">
              <a:cs typeface="Calibri" panose="020F05020202040302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n-NO" sz="1400">
              <a:cs typeface="Calibri" panose="020F0502020204030204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nn-NO" sz="1400"/>
              <a:t>Byggeprosjekt? </a:t>
            </a:r>
            <a:endParaRPr lang="nn-NO" sz="1400"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n-NO" sz="1400"/>
          </a:p>
          <a:p>
            <a:endParaRPr lang="nn-NO" sz="1400"/>
          </a:p>
          <a:p>
            <a:endParaRPr lang="nn-NO" sz="1400"/>
          </a:p>
          <a:p>
            <a:endParaRPr lang="nn-NO" sz="1400"/>
          </a:p>
        </p:txBody>
      </p:sp>
    </p:spTree>
    <p:extLst>
      <p:ext uri="{BB962C8B-B14F-4D97-AF65-F5344CB8AC3E}">
        <p14:creationId xmlns:p14="http://schemas.microsoft.com/office/powerpoint/2010/main" val="9034696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BD329A99-2FAC-3611-583D-10D35BE68F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rmAutofit/>
          </a:bodyPr>
          <a:lstStyle/>
          <a:p>
            <a:pPr marL="179705" indent="-179705"/>
            <a:r>
              <a:rPr lang="nb-NO">
                <a:cs typeface="Calibri"/>
              </a:rPr>
              <a:t>D</a:t>
            </a:r>
            <a:r>
              <a:rPr lang="nn-NO" err="1">
                <a:ea typeface="+mn-lt"/>
                <a:cs typeface="+mn-lt"/>
              </a:rPr>
              <a:t>ette</a:t>
            </a:r>
            <a:r>
              <a:rPr lang="nn-NO">
                <a:ea typeface="+mn-lt"/>
                <a:cs typeface="+mn-lt"/>
              </a:rPr>
              <a:t> er ikkje tilstrekkeleg i forhold til økonomiske rammevilkår framover.</a:t>
            </a:r>
            <a:endParaRPr lang="en-US">
              <a:ea typeface="+mn-lt"/>
              <a:cs typeface="+mn-lt"/>
            </a:endParaRPr>
          </a:p>
          <a:p>
            <a:pPr marL="179705" indent="-179705"/>
            <a:endParaRPr lang="nn-NO">
              <a:ea typeface="+mn-lt"/>
              <a:cs typeface="+mn-lt"/>
            </a:endParaRPr>
          </a:p>
          <a:p>
            <a:pPr marL="179705" indent="-179705"/>
            <a:r>
              <a:rPr lang="nn-NO">
                <a:ea typeface="+mn-lt"/>
                <a:cs typeface="+mn-lt"/>
              </a:rPr>
              <a:t>Vi har brukt siste halvår i 2022 til å forankre utfordringsbiletet og finne ytterlegare tiltak. Ein del av denne prosessen er å også finne «handlingsrommet» til HFD på overordna nivå.</a:t>
            </a:r>
            <a:endParaRPr lang="en-US">
              <a:ea typeface="+mn-lt"/>
              <a:cs typeface="+mn-lt"/>
            </a:endParaRPr>
          </a:p>
          <a:p>
            <a:pPr marL="359410" lvl="1" indent="-179705">
              <a:buFont typeface="Calibri,Sans-Serif" panose="020B0604020202020204" pitchFamily="34" charset="0"/>
              <a:buChar char="-"/>
            </a:pPr>
            <a:r>
              <a:rPr lang="nn-NO">
                <a:ea typeface="+mn-lt"/>
                <a:cs typeface="+mn-lt"/>
              </a:rPr>
              <a:t>Første steg i prosessen er å analysere </a:t>
            </a:r>
            <a:r>
              <a:rPr lang="nn-NO" err="1">
                <a:ea typeface="+mn-lt"/>
                <a:cs typeface="+mn-lt"/>
              </a:rPr>
              <a:t>føreslåtte</a:t>
            </a:r>
            <a:r>
              <a:rPr lang="nn-NO">
                <a:ea typeface="+mn-lt"/>
                <a:cs typeface="+mn-lt"/>
              </a:rPr>
              <a:t> tiltak, inkludert økonomisk potensiale og konsekvensar. Dette skal vere ferdig medio februar. </a:t>
            </a:r>
            <a:endParaRPr lang="en-US">
              <a:ea typeface="+mn-lt"/>
              <a:cs typeface="+mn-lt"/>
            </a:endParaRPr>
          </a:p>
          <a:p>
            <a:pPr marL="359410" lvl="1" indent="-179705">
              <a:buFont typeface="Calibri,Sans-Serif" panose="020B0604020202020204" pitchFamily="34" charset="0"/>
              <a:buChar char="-"/>
            </a:pPr>
            <a:r>
              <a:rPr lang="nn-NO">
                <a:ea typeface="+mn-lt"/>
                <a:cs typeface="+mn-lt"/>
              </a:rPr>
              <a:t>Neste steg vil vere å prioritere, kvalitetssikre, vedta og deretter gjennomføre tiltak. Avhengig av tiltak vil det vere ulike prosessar her og tidsperspektiv for gjennomføring.</a:t>
            </a:r>
            <a:endParaRPr lang="en-US">
              <a:ea typeface="+mn-lt"/>
              <a:cs typeface="+mn-lt"/>
            </a:endParaRPr>
          </a:p>
          <a:p>
            <a:pPr marL="359410" lvl="1" indent="-179705"/>
            <a:endParaRPr lang="nn-NO">
              <a:ea typeface="+mn-lt"/>
              <a:cs typeface="+mn-lt"/>
            </a:endParaRPr>
          </a:p>
          <a:p>
            <a:pPr marL="179705" indent="-179705"/>
            <a:r>
              <a:rPr lang="nn-NO">
                <a:ea typeface="+mn-lt"/>
                <a:cs typeface="+mn-lt"/>
              </a:rPr>
              <a:t>Det har vore brukt mye tid på å forankre utfordringsbildet i eigen organisasjon.</a:t>
            </a:r>
            <a:endParaRPr lang="en-US">
              <a:ea typeface="+mn-lt"/>
              <a:cs typeface="+mn-lt"/>
            </a:endParaRPr>
          </a:p>
          <a:p>
            <a:pPr marL="179705" indent="-179705"/>
            <a:endParaRPr lang="nb-NO">
              <a:cs typeface="Calibri"/>
            </a:endParaRPr>
          </a:p>
        </p:txBody>
      </p:sp>
      <p:sp>
        <p:nvSpPr>
          <p:cNvPr id="3" name="Tittel 2">
            <a:extLst>
              <a:ext uri="{FF2B5EF4-FFF2-40B4-BE49-F238E27FC236}">
                <a16:creationId xmlns:a16="http://schemas.microsoft.com/office/drawing/2014/main" id="{780E3601-4A39-F116-1A07-8CBFD4C516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>
                <a:ea typeface="+mj-lt"/>
                <a:cs typeface="+mj-lt"/>
              </a:rPr>
              <a:t>Økonomi - prosessen knytt til innsparing</a:t>
            </a:r>
            <a:endParaRPr lang="nb-NO" b="0">
              <a:ea typeface="+mj-lt"/>
              <a:cs typeface="+mj-lt"/>
            </a:endParaRPr>
          </a:p>
          <a:p>
            <a:endParaRPr lang="nb-NO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374602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597E381-7255-99D8-6615-DCF65F3674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>
                <a:cs typeface="Calibri"/>
              </a:rPr>
              <a:t>Tiltak - prosess</a:t>
            </a:r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6BEAE441-E6CC-7888-E622-2282BBDEC76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Samla innmeldt 70 tiltak </a:t>
            </a:r>
            <a:r>
              <a:rPr lang="nb-NO" err="1"/>
              <a:t>frå</a:t>
            </a:r>
            <a:r>
              <a:rPr lang="nb-NO"/>
              <a:t> </a:t>
            </a:r>
            <a:r>
              <a:rPr lang="nb-NO" err="1"/>
              <a:t>Foretaksleiinga</a:t>
            </a:r>
            <a:r>
              <a:rPr lang="nb-NO"/>
              <a:t> om potensial for innsparing</a:t>
            </a:r>
          </a:p>
          <a:p>
            <a:pPr lvl="1"/>
            <a:r>
              <a:rPr lang="nb-NO"/>
              <a:t>38 av </a:t>
            </a:r>
            <a:r>
              <a:rPr lang="nb-NO" err="1"/>
              <a:t>desse</a:t>
            </a:r>
            <a:r>
              <a:rPr lang="nb-NO"/>
              <a:t> vurdert som driftsmessige tiltak der det </a:t>
            </a:r>
            <a:r>
              <a:rPr lang="nb-NO" err="1"/>
              <a:t>ikkje</a:t>
            </a:r>
            <a:r>
              <a:rPr lang="nb-NO"/>
              <a:t> var behov for analysearbeid </a:t>
            </a:r>
          </a:p>
          <a:p>
            <a:r>
              <a:rPr lang="nb-NO"/>
              <a:t>32 av tiltaka var bearbeidd </a:t>
            </a:r>
            <a:r>
              <a:rPr lang="nb-NO" err="1"/>
              <a:t>mtp</a:t>
            </a:r>
            <a:r>
              <a:rPr lang="nb-NO"/>
              <a:t> </a:t>
            </a:r>
            <a:r>
              <a:rPr lang="nb-NO" err="1"/>
              <a:t>vidare</a:t>
            </a:r>
            <a:r>
              <a:rPr lang="nb-NO"/>
              <a:t> analyse – gruppert etter tematikk</a:t>
            </a:r>
          </a:p>
          <a:p>
            <a:endParaRPr lang="nb-NO"/>
          </a:p>
          <a:p>
            <a:r>
              <a:rPr lang="nb-NO"/>
              <a:t>Resultatet er at 20 tiltak som er analysert av </a:t>
            </a:r>
            <a:r>
              <a:rPr lang="nb-NO" err="1"/>
              <a:t>ækonomiavdelinga</a:t>
            </a:r>
            <a:r>
              <a:rPr lang="nb-NO"/>
              <a:t> og </a:t>
            </a:r>
            <a:r>
              <a:rPr lang="nb-NO" err="1"/>
              <a:t>controllergruppa</a:t>
            </a:r>
            <a:endParaRPr lang="nb-NO"/>
          </a:p>
          <a:p>
            <a:pPr marL="0" indent="0">
              <a:buNone/>
            </a:pPr>
            <a:endParaRPr lang="nb-NO"/>
          </a:p>
          <a:p>
            <a:r>
              <a:rPr lang="nb-NO" err="1"/>
              <a:t>Vidare</a:t>
            </a:r>
            <a:r>
              <a:rPr lang="nb-NO"/>
              <a:t> handsaming i </a:t>
            </a:r>
            <a:r>
              <a:rPr lang="nb-NO" err="1"/>
              <a:t>føretaksleiinga</a:t>
            </a:r>
            <a:r>
              <a:rPr lang="nb-NO"/>
              <a:t>, involvering av </a:t>
            </a:r>
            <a:r>
              <a:rPr lang="nb-NO" err="1"/>
              <a:t>tillitsvalde</a:t>
            </a:r>
            <a:endParaRPr lang="nb-NO"/>
          </a:p>
          <a:p>
            <a:endParaRPr lang="nb-NO"/>
          </a:p>
          <a:p>
            <a:r>
              <a:rPr lang="nb-NO"/>
              <a:t>Styrebehandling av evt. «større tiltak»</a:t>
            </a:r>
          </a:p>
        </p:txBody>
      </p:sp>
    </p:spTree>
    <p:extLst>
      <p:ext uri="{BB962C8B-B14F-4D97-AF65-F5344CB8AC3E}">
        <p14:creationId xmlns:p14="http://schemas.microsoft.com/office/powerpoint/2010/main" val="22602036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E132FD5B-D0F0-435B-B433-02112A7C54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55601" y="25842"/>
            <a:ext cx="5071972" cy="6858000"/>
          </a:xfrm>
          <a:prstGeom prst="rect">
            <a:avLst/>
          </a:prstGeom>
        </p:spPr>
      </p:pic>
      <p:pic>
        <p:nvPicPr>
          <p:cNvPr id="5" name="Bilde 4">
            <a:extLst>
              <a:ext uri="{FF2B5EF4-FFF2-40B4-BE49-F238E27FC236}">
                <a16:creationId xmlns:a16="http://schemas.microsoft.com/office/drawing/2014/main" id="{15568B4D-3DC2-405C-AA81-9EADF878FC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983" y="0"/>
            <a:ext cx="4280392" cy="6858000"/>
          </a:xfrm>
          <a:prstGeom prst="rect">
            <a:avLst/>
          </a:prstGeom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56C222FC-AACA-446A-AE7E-A44BB190E187}"/>
              </a:ext>
            </a:extLst>
          </p:cNvPr>
          <p:cNvSpPr txBox="1"/>
          <p:nvPr/>
        </p:nvSpPr>
        <p:spPr>
          <a:xfrm>
            <a:off x="10160876" y="2151993"/>
            <a:ext cx="1639614" cy="92333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nn-NO" b="1"/>
              <a:t>KVA BETYR DETTE FOR HFD?</a:t>
            </a:r>
          </a:p>
        </p:txBody>
      </p:sp>
    </p:spTree>
    <p:extLst>
      <p:ext uri="{BB962C8B-B14F-4D97-AF65-F5344CB8AC3E}">
        <p14:creationId xmlns:p14="http://schemas.microsoft.com/office/powerpoint/2010/main" val="6488538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zgI4H1f__AuQcdALLIi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lblxB64FcNwelrCvdR.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Mal01_Format_16-9">
  <a:themeElements>
    <a:clrScheme name="Helse Vest">
      <a:dk1>
        <a:sysClr val="windowText" lastClr="000000"/>
      </a:dk1>
      <a:lt1>
        <a:sysClr val="window" lastClr="FFFFFF"/>
      </a:lt1>
      <a:dk2>
        <a:srgbClr val="323232"/>
      </a:dk2>
      <a:lt2>
        <a:srgbClr val="E7E6E6"/>
      </a:lt2>
      <a:accent1>
        <a:srgbClr val="00338D"/>
      </a:accent1>
      <a:accent2>
        <a:srgbClr val="86786F"/>
      </a:accent2>
      <a:accent3>
        <a:srgbClr val="7AB2DC"/>
      </a:accent3>
      <a:accent4>
        <a:srgbClr val="F7D93E"/>
      </a:accent4>
      <a:accent5>
        <a:srgbClr val="FA7369"/>
      </a:accent5>
      <a:accent6>
        <a:srgbClr val="7DDBD4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mal_HelseVest_16_9.potx" id="{3327F725-F5AB-4F23-8515-419A6D40C242}" vid="{9E4DF230-4A50-432A-B0B1-1FB5168D8C87}"/>
    </a:ext>
  </a:extLst>
</a:theme>
</file>

<file path=ppt/theme/theme2.xml><?xml version="1.0" encoding="utf-8"?>
<a:theme xmlns:a="http://schemas.openxmlformats.org/drawingml/2006/main" name="1_Office-tema">
  <a:themeElements>
    <a:clrScheme name="Office">
      <a:dk1>
        <a:srgbClr val="333333"/>
      </a:dk1>
      <a:lt1>
        <a:srgbClr val="FFFFFF"/>
      </a:lt1>
      <a:dk2>
        <a:srgbClr val="333333"/>
      </a:dk2>
      <a:lt2>
        <a:srgbClr val="DAD7D3"/>
      </a:lt2>
      <a:accent1>
        <a:srgbClr val="003086"/>
      </a:accent1>
      <a:accent2>
        <a:srgbClr val="6CACE4"/>
      </a:accent2>
      <a:accent3>
        <a:srgbClr val="FFD36A"/>
      </a:accent3>
      <a:accent4>
        <a:srgbClr val="FF854C"/>
      </a:accent4>
      <a:accent5>
        <a:srgbClr val="D2DDE2"/>
      </a:accent5>
      <a:accent6>
        <a:srgbClr val="9ABEAB"/>
      </a:accent6>
      <a:hlink>
        <a:srgbClr val="0563C1"/>
      </a:hlink>
      <a:folHlink>
        <a:srgbClr val="954F72"/>
      </a:folHlink>
    </a:clrScheme>
    <a:fontScheme name="Egendefinert 54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2_Mal_Helse-førde_Presentasjon_forenkla [Skrivebeskyttet]" id="{B2A3C6B5-CDB8-4437-92D4-FD7039D44F2D}" vid="{A2E8BC44-F0F9-4033-9412-4D50C01FF95F}"/>
    </a:ext>
  </a:extLst>
</a:theme>
</file>

<file path=ppt/theme/theme3.xml><?xml version="1.0" encoding="utf-8"?>
<a:theme xmlns:a="http://schemas.openxmlformats.org/drawingml/2006/main" name="3_Office-tema">
  <a:themeElements>
    <a:clrScheme name="Office">
      <a:dk1>
        <a:srgbClr val="333333"/>
      </a:dk1>
      <a:lt1>
        <a:srgbClr val="FFFFFF"/>
      </a:lt1>
      <a:dk2>
        <a:srgbClr val="333333"/>
      </a:dk2>
      <a:lt2>
        <a:srgbClr val="DAD7D3"/>
      </a:lt2>
      <a:accent1>
        <a:srgbClr val="003086"/>
      </a:accent1>
      <a:accent2>
        <a:srgbClr val="6CACE4"/>
      </a:accent2>
      <a:accent3>
        <a:srgbClr val="FFD36A"/>
      </a:accent3>
      <a:accent4>
        <a:srgbClr val="FF854C"/>
      </a:accent4>
      <a:accent5>
        <a:srgbClr val="D2DDE2"/>
      </a:accent5>
      <a:accent6>
        <a:srgbClr val="9ABEAB"/>
      </a:accent6>
      <a:hlink>
        <a:srgbClr val="0563C1"/>
      </a:hlink>
      <a:folHlink>
        <a:srgbClr val="954F72"/>
      </a:folHlink>
    </a:clrScheme>
    <a:fontScheme name="Egendefinert 54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mal_HelseForde" id="{EB1EFB63-3617-8C47-8C1F-5120D513A268}" vid="{109B1D9C-3645-B344-BC14-279D3F83558F}"/>
    </a:ext>
  </a:extLst>
</a:theme>
</file>

<file path=ppt/theme/theme4.xml><?xml version="1.0" encoding="utf-8"?>
<a:theme xmlns:a="http://schemas.openxmlformats.org/drawingml/2006/main" name="Mal01_Format_16-9">
  <a:themeElements>
    <a:clrScheme name="Helse Vest">
      <a:dk1>
        <a:sysClr val="windowText" lastClr="000000"/>
      </a:dk1>
      <a:lt1>
        <a:sysClr val="window" lastClr="FFFFFF"/>
      </a:lt1>
      <a:dk2>
        <a:srgbClr val="323232"/>
      </a:dk2>
      <a:lt2>
        <a:srgbClr val="E7E6E6"/>
      </a:lt2>
      <a:accent1>
        <a:srgbClr val="00338D"/>
      </a:accent1>
      <a:accent2>
        <a:srgbClr val="86786F"/>
      </a:accent2>
      <a:accent3>
        <a:srgbClr val="7AB2DC"/>
      </a:accent3>
      <a:accent4>
        <a:srgbClr val="F7D93E"/>
      </a:accent4>
      <a:accent5>
        <a:srgbClr val="FA7369"/>
      </a:accent5>
      <a:accent6>
        <a:srgbClr val="7DDBD4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mal_HelseVest_16_9.potx" id="{3327F725-F5AB-4F23-8515-419A6D40C242}" vid="{9E4DF230-4A50-432A-B0B1-1FB5168D8C87}"/>
    </a:ext>
  </a:extLst>
</a:theme>
</file>

<file path=ppt/theme/theme5.xml><?xml version="1.0" encoding="utf-8"?>
<a:theme xmlns:a="http://schemas.openxmlformats.org/drawingml/2006/main" name="1_Mal01_Format_16-9">
  <a:themeElements>
    <a:clrScheme name="Helse Vest">
      <a:dk1>
        <a:sysClr val="windowText" lastClr="000000"/>
      </a:dk1>
      <a:lt1>
        <a:sysClr val="window" lastClr="FFFFFF"/>
      </a:lt1>
      <a:dk2>
        <a:srgbClr val="323232"/>
      </a:dk2>
      <a:lt2>
        <a:srgbClr val="E7E6E6"/>
      </a:lt2>
      <a:accent1>
        <a:srgbClr val="00338D"/>
      </a:accent1>
      <a:accent2>
        <a:srgbClr val="86786F"/>
      </a:accent2>
      <a:accent3>
        <a:srgbClr val="7AB2DC"/>
      </a:accent3>
      <a:accent4>
        <a:srgbClr val="F7D93E"/>
      </a:accent4>
      <a:accent5>
        <a:srgbClr val="FA7369"/>
      </a:accent5>
      <a:accent6>
        <a:srgbClr val="7DDBD4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16-9 [Skrivebeskyttet]" id="{6F4FB2DD-300F-41FB-8063-B0B43F11B9C3}" vid="{05313BF8-2936-4E9C-9D27-275580D5A025}"/>
    </a:ext>
  </a:extLst>
</a:theme>
</file>

<file path=ppt/theme/theme6.xml><?xml version="1.0" encoding="utf-8"?>
<a:theme xmlns:a="http://schemas.openxmlformats.org/drawingml/2006/main" name="2_Office-tema">
  <a:themeElements>
    <a:clrScheme name="Office">
      <a:dk1>
        <a:srgbClr val="333333"/>
      </a:dk1>
      <a:lt1>
        <a:srgbClr val="FFFFFF"/>
      </a:lt1>
      <a:dk2>
        <a:srgbClr val="333333"/>
      </a:dk2>
      <a:lt2>
        <a:srgbClr val="DAD7D3"/>
      </a:lt2>
      <a:accent1>
        <a:srgbClr val="003086"/>
      </a:accent1>
      <a:accent2>
        <a:srgbClr val="6CACE4"/>
      </a:accent2>
      <a:accent3>
        <a:srgbClr val="FFD36A"/>
      </a:accent3>
      <a:accent4>
        <a:srgbClr val="FF854C"/>
      </a:accent4>
      <a:accent5>
        <a:srgbClr val="D2DDE2"/>
      </a:accent5>
      <a:accent6>
        <a:srgbClr val="9ABEAB"/>
      </a:accent6>
      <a:hlink>
        <a:srgbClr val="0563C1"/>
      </a:hlink>
      <a:folHlink>
        <a:srgbClr val="954F72"/>
      </a:folHlink>
    </a:clrScheme>
    <a:fontScheme name="Egendefinert 54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2_Mal_Helse-førde_Presentasjon_forenkla [Skrivebeskyttet]" id="{B2A3C6B5-CDB8-4437-92D4-FD7039D44F2D}" vid="{A2E8BC44-F0F9-4033-9412-4D50C01FF95F}"/>
    </a:ext>
  </a:extLst>
</a:theme>
</file>

<file path=ppt/theme/theme7.xml><?xml version="1.0" encoding="utf-8"?>
<a:theme xmlns:a="http://schemas.openxmlformats.org/drawingml/2006/main" name="Office-tema">
  <a:themeElements>
    <a:clrScheme name="Office">
      <a:dk1>
        <a:srgbClr val="333333"/>
      </a:dk1>
      <a:lt1>
        <a:srgbClr val="FFFFFF"/>
      </a:lt1>
      <a:dk2>
        <a:srgbClr val="333333"/>
      </a:dk2>
      <a:lt2>
        <a:srgbClr val="DAD7D3"/>
      </a:lt2>
      <a:accent1>
        <a:srgbClr val="003086"/>
      </a:accent1>
      <a:accent2>
        <a:srgbClr val="6CACE4"/>
      </a:accent2>
      <a:accent3>
        <a:srgbClr val="FFD36A"/>
      </a:accent3>
      <a:accent4>
        <a:srgbClr val="FF854C"/>
      </a:accent4>
      <a:accent5>
        <a:srgbClr val="D2DDE2"/>
      </a:accent5>
      <a:accent6>
        <a:srgbClr val="9ABEAB"/>
      </a:accent6>
      <a:hlink>
        <a:srgbClr val="0563C1"/>
      </a:hlink>
      <a:folHlink>
        <a:srgbClr val="954F72"/>
      </a:folHlink>
    </a:clrScheme>
    <a:fontScheme name="Egendefinert 54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mal_HelseForde" id="{EB1EFB63-3617-8C47-8C1F-5120D513A268}" vid="{109B1D9C-3645-B344-BC14-279D3F83558F}"/>
    </a:ext>
  </a:extLst>
</a:theme>
</file>

<file path=ppt/theme/theme8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225BDA245DFBD84EA1C603484927B211" ma:contentTypeVersion="6" ma:contentTypeDescription="Opprett et nytt dokument." ma:contentTypeScope="" ma:versionID="3785c67f4975a99ae0677f9f70e5b5fa">
  <xsd:schema xmlns:xsd="http://www.w3.org/2001/XMLSchema" xmlns:xs="http://www.w3.org/2001/XMLSchema" xmlns:p="http://schemas.microsoft.com/office/2006/metadata/properties" xmlns:ns2="b8201d1c-41b6-4eb2-85b8-56e122db3875" xmlns:ns3="2a8f8ba1-63d0-4b7e-8791-1e3eeab8f22d" targetNamespace="http://schemas.microsoft.com/office/2006/metadata/properties" ma:root="true" ma:fieldsID="5d0b45d9f13e280a8a9310b32964fd8d" ns2:_="" ns3:_="">
    <xsd:import namespace="b8201d1c-41b6-4eb2-85b8-56e122db3875"/>
    <xsd:import namespace="2a8f8ba1-63d0-4b7e-8791-1e3eeab8f22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8201d1c-41b6-4eb2-85b8-56e122db387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8f8ba1-63d0-4b7e-8791-1e3eeab8f22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38AA413-FB2D-44BE-81CE-44EC23712A7A}">
  <ds:schemaRefs>
    <ds:schemaRef ds:uri="http://purl.org/dc/terms/"/>
    <ds:schemaRef ds:uri="http://schemas.openxmlformats.org/package/2006/metadata/core-properties"/>
    <ds:schemaRef ds:uri="b8201d1c-41b6-4eb2-85b8-56e122db3875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2a8f8ba1-63d0-4b7e-8791-1e3eeab8f22d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A9B6015-36BF-4958-81C1-D4C3FC7A5E0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063EF2E-77C4-4427-94EB-A97C6D065E9A}">
  <ds:schemaRefs>
    <ds:schemaRef ds:uri="2a8f8ba1-63d0-4b7e-8791-1e3eeab8f22d"/>
    <ds:schemaRef ds:uri="b8201d1c-41b6-4eb2-85b8-56e122db387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73</Words>
  <Application>Microsoft Office PowerPoint</Application>
  <PresentationFormat>Widescreen</PresentationFormat>
  <Paragraphs>44</Paragraphs>
  <Slides>7</Slides>
  <Notes>0</Notes>
  <HiddenSlides>0</HiddenSlides>
  <MMClips>0</MMClips>
  <ScaleCrop>false</ScaleCrop>
  <HeadingPairs>
    <vt:vector size="8" baseType="variant">
      <vt:variant>
        <vt:lpstr>Brukte skrifter</vt:lpstr>
      </vt:variant>
      <vt:variant>
        <vt:i4>5</vt:i4>
      </vt:variant>
      <vt:variant>
        <vt:lpstr>Tema</vt:lpstr>
      </vt:variant>
      <vt:variant>
        <vt:i4>7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7</vt:i4>
      </vt:variant>
    </vt:vector>
  </HeadingPairs>
  <TitlesOfParts>
    <vt:vector size="20" baseType="lpstr">
      <vt:lpstr>Arial</vt:lpstr>
      <vt:lpstr>Calibri</vt:lpstr>
      <vt:lpstr>Calibri,Sans-Serif</vt:lpstr>
      <vt:lpstr>Cambria</vt:lpstr>
      <vt:lpstr>Wingdings</vt:lpstr>
      <vt:lpstr>1_Mal01_Format_16-9</vt:lpstr>
      <vt:lpstr>1_Office-tema</vt:lpstr>
      <vt:lpstr>3_Office-tema</vt:lpstr>
      <vt:lpstr>Mal01_Format_16-9</vt:lpstr>
      <vt:lpstr>1_Mal01_Format_16-9</vt:lpstr>
      <vt:lpstr>2_Office-tema</vt:lpstr>
      <vt:lpstr>Office-tema</vt:lpstr>
      <vt:lpstr>think-cell Slide</vt:lpstr>
      <vt:lpstr>Prosess og tiltak økonomi – Helse Førde 2023</vt:lpstr>
      <vt:lpstr>PowerPoint-presentasjon</vt:lpstr>
      <vt:lpstr>Økonomi - prosessen knytt til innsparing</vt:lpstr>
      <vt:lpstr>Utfordringsbiletet</vt:lpstr>
      <vt:lpstr>Økonomi - prosessen knytt til innsparing </vt:lpstr>
      <vt:lpstr>Tiltak - prosess</vt:lpstr>
      <vt:lpstr>PowerPoint-presentasjon</vt:lpstr>
    </vt:vector>
  </TitlesOfParts>
  <Company>Helse Ves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yremøte Helse Førde</dc:title>
  <dc:creator>Ulvedal, Terje</dc:creator>
  <cp:lastModifiedBy>Vie, Tina Løkke</cp:lastModifiedBy>
  <cp:revision>1</cp:revision>
  <dcterms:created xsi:type="dcterms:W3CDTF">2023-01-23T09:49:43Z</dcterms:created>
  <dcterms:modified xsi:type="dcterms:W3CDTF">2023-03-08T07:39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FooterText">
    <vt:lpwstr>Følsomhet Intern</vt:lpwstr>
  </property>
  <property fmtid="{D5CDD505-2E9C-101B-9397-08002B2CF9AE}" pid="3" name="ContentTypeId">
    <vt:lpwstr>0x010100225BDA245DFBD84EA1C603484927B211</vt:lpwstr>
  </property>
  <property fmtid="{D5CDD505-2E9C-101B-9397-08002B2CF9AE}" pid="4" name="ClassificationContentMarkingFooterLocations">
    <vt:lpwstr>office theme:8</vt:lpwstr>
  </property>
  <property fmtid="{D5CDD505-2E9C-101B-9397-08002B2CF9AE}" pid="5" name="MSIP_Label_d291ddcc-9a90-46b7-a727-d19b3ec4b730_Name">
    <vt:lpwstr>Åpen</vt:lpwstr>
  </property>
  <property fmtid="{D5CDD505-2E9C-101B-9397-08002B2CF9AE}" pid="6" name="MSIP_Label_d291ddcc-9a90-46b7-a727-d19b3ec4b730_SiteId">
    <vt:lpwstr>bdcbe535-f3cf-49f5-8a6a-fb6d98dc7837</vt:lpwstr>
  </property>
  <property fmtid="{D5CDD505-2E9C-101B-9397-08002B2CF9AE}" pid="7" name="MSIP_Label_d291ddcc-9a90-46b7-a727-d19b3ec4b730_ContentBits">
    <vt:lpwstr>0</vt:lpwstr>
  </property>
  <property fmtid="{D5CDD505-2E9C-101B-9397-08002B2CF9AE}" pid="8" name="MSIP_Label_d291ddcc-9a90-46b7-a727-d19b3ec4b730_SetDate">
    <vt:lpwstr>2023-01-25T08:46:05Z</vt:lpwstr>
  </property>
  <property fmtid="{D5CDD505-2E9C-101B-9397-08002B2CF9AE}" pid="9" name="MSIP_Label_d291ddcc-9a90-46b7-a727-d19b3ec4b730_Enabled">
    <vt:lpwstr>true</vt:lpwstr>
  </property>
  <property fmtid="{D5CDD505-2E9C-101B-9397-08002B2CF9AE}" pid="10" name="MSIP_Label_d291ddcc-9a90-46b7-a727-d19b3ec4b730_ActionId">
    <vt:lpwstr>a6fb241e-851a-47fa-8b40-5045fd8efbef</vt:lpwstr>
  </property>
  <property fmtid="{D5CDD505-2E9C-101B-9397-08002B2CF9AE}" pid="11" name="MSIP_Label_d291ddcc-9a90-46b7-a727-d19b3ec4b730_Method">
    <vt:lpwstr>Privileged</vt:lpwstr>
  </property>
</Properties>
</file>